
<file path=[Content_Types].xml><?xml version="1.0" encoding="utf-8"?>
<Types xmlns="http://schemas.openxmlformats.org/package/2006/content-types">
  <Default Extension="xml" ContentType="application/xml"/>
  <Default Extension="jpeg" ContentType="image/jpeg"/>
  <Default Extension="png" ContentType="image/png"/>
  <Default Extension="jpg" ContentType="image/jpeg"/>
  <Default Extension="emf" ContentType="image/x-emf"/>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6"/>
  </p:notesMasterIdLst>
  <p:handoutMasterIdLst>
    <p:handoutMasterId r:id="rId7"/>
  </p:handoutMasterIdLst>
  <p:sldIdLst>
    <p:sldId id="412" r:id="rId2"/>
    <p:sldId id="417" r:id="rId3"/>
    <p:sldId id="419" r:id="rId4"/>
    <p:sldId id="418" r:id="rId5"/>
  </p:sldIdLst>
  <p:sldSz cx="9906000" cy="6858000" type="A4"/>
  <p:notesSz cx="6808788" cy="9940925"/>
  <p:defaultText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31">
          <p15:clr>
            <a:srgbClr val="A4A3A4"/>
          </p15:clr>
        </p15:guide>
        <p15:guide id="4"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7E8"/>
    <a:srgbClr val="D1D3D4"/>
    <a:srgbClr val="AAAAAA"/>
    <a:srgbClr val="DCDDDE"/>
    <a:srgbClr val="939598"/>
    <a:srgbClr val="F2F2F2"/>
    <a:srgbClr val="44B2C8"/>
    <a:srgbClr val="FFFFFF"/>
    <a:srgbClr val="4C9DBF"/>
    <a:srgbClr val="27DF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39" autoAdjust="0"/>
    <p:restoredTop sz="96206" autoAdjust="0"/>
  </p:normalViewPr>
  <p:slideViewPr>
    <p:cSldViewPr snapToGrid="0">
      <p:cViewPr>
        <p:scale>
          <a:sx n="100" d="100"/>
          <a:sy n="100" d="100"/>
        </p:scale>
        <p:origin x="1264" y="144"/>
      </p:cViewPr>
      <p:guideLst>
        <p:guide orient="horz" pos="2160"/>
        <p:guide pos="312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308"/>
    </p:cViewPr>
  </p:sorterViewPr>
  <p:notesViewPr>
    <p:cSldViewPr snapToGrid="0" showGuides="1">
      <p:cViewPr varScale="1">
        <p:scale>
          <a:sx n="88" d="100"/>
          <a:sy n="88" d="100"/>
        </p:scale>
        <p:origin x="-3804" y="-102"/>
      </p:cViewPr>
      <p:guideLst>
        <p:guide orient="horz" pos="2880"/>
        <p:guide pos="2160"/>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notesMaster" Target="notesMasters/notesMaster1.xml"/><Relationship Id="rId7" Type="http://schemas.openxmlformats.org/officeDocument/2006/relationships/handoutMaster" Target="handoutMasters/handoutMaster1.xml"/><Relationship Id="rId8" Type="http://schemas.openxmlformats.org/officeDocument/2006/relationships/presProps" Target="presProps.xml"/><Relationship Id="rId9" Type="http://schemas.openxmlformats.org/officeDocument/2006/relationships/viewProps" Target="viewProps.xml"/><Relationship Id="rId10" Type="http://schemas.openxmlformats.org/officeDocument/2006/relationships/theme" Target="theme/theme1.xml"/><Relationship Id="rId1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6737" y="0"/>
            <a:ext cx="2950475" cy="497046"/>
          </a:xfrm>
          <a:prstGeom prst="rect">
            <a:avLst/>
          </a:prstGeom>
        </p:spPr>
        <p:txBody>
          <a:bodyPr vert="horz" lIns="91440" tIns="45720" rIns="91440" bIns="45720" rtlCol="0"/>
          <a:lstStyle>
            <a:lvl1pPr algn="r">
              <a:defRPr sz="1200"/>
            </a:lvl1pPr>
          </a:lstStyle>
          <a:p>
            <a:fld id="{F72A1F59-74F8-44CF-9608-D1D1F0996587}" type="datetimeFigureOut">
              <a:rPr lang="en-GB" smtClean="0"/>
              <a:t>07/01/2018</a:t>
            </a:fld>
            <a:endParaRPr lang="en-GB" dirty="0"/>
          </a:p>
        </p:txBody>
      </p:sp>
      <p:sp>
        <p:nvSpPr>
          <p:cNvPr id="4" name="Footer Placeholder 3"/>
          <p:cNvSpPr>
            <a:spLocks noGrp="1"/>
          </p:cNvSpPr>
          <p:nvPr>
            <p:ph type="ftr" sz="quarter" idx="2"/>
          </p:nvPr>
        </p:nvSpPr>
        <p:spPr>
          <a:xfrm>
            <a:off x="0" y="9442154"/>
            <a:ext cx="2950475" cy="497046"/>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6737" y="9442154"/>
            <a:ext cx="2950475" cy="497046"/>
          </a:xfrm>
          <a:prstGeom prst="rect">
            <a:avLst/>
          </a:prstGeom>
        </p:spPr>
        <p:txBody>
          <a:bodyPr vert="horz" lIns="91440" tIns="45720" rIns="91440" bIns="45720" rtlCol="0" anchor="b"/>
          <a:lstStyle>
            <a:lvl1pPr algn="r">
              <a:defRPr sz="1200"/>
            </a:lvl1pPr>
          </a:lstStyle>
          <a:p>
            <a:fld id="{B5456408-28DD-4FFF-92F7-977F2BC32B77}" type="slidenum">
              <a:rPr lang="en-GB" smtClean="0"/>
              <a:t>‹#›</a:t>
            </a:fld>
            <a:endParaRPr lang="en-GB" dirty="0"/>
          </a:p>
        </p:txBody>
      </p:sp>
    </p:spTree>
    <p:extLst>
      <p:ext uri="{BB962C8B-B14F-4D97-AF65-F5344CB8AC3E}">
        <p14:creationId xmlns:p14="http://schemas.microsoft.com/office/powerpoint/2010/main" val="34605714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D36F24F6-1556-47AD-907E-11C4C804A6C2}" type="datetimeFigureOut">
              <a:rPr lang="en-GB" smtClean="0"/>
              <a:t>07/01/2018</a:t>
            </a:fld>
            <a:endParaRPr lang="en-GB" dirty="0"/>
          </a:p>
        </p:txBody>
      </p:sp>
      <p:sp>
        <p:nvSpPr>
          <p:cNvPr id="4" name="Slide Image Placeholder 3"/>
          <p:cNvSpPr>
            <a:spLocks noGrp="1" noRot="1" noChangeAspect="1"/>
          </p:cNvSpPr>
          <p:nvPr>
            <p:ph type="sldImg" idx="2"/>
          </p:nvPr>
        </p:nvSpPr>
        <p:spPr>
          <a:xfrm>
            <a:off x="712788" y="746125"/>
            <a:ext cx="5383212" cy="37274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8731FDDB-74AF-466F-B92E-1346EC410FDE}" type="slidenum">
              <a:rPr lang="en-GB" smtClean="0"/>
              <a:t>‹#›</a:t>
            </a:fld>
            <a:endParaRPr lang="en-GB" dirty="0"/>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872722" rtl="0" eaLnBrk="1" latinLnBrk="0" hangingPunct="1">
      <a:defRPr sz="1100" kern="1200">
        <a:solidFill>
          <a:schemeClr val="tx1"/>
        </a:solidFill>
        <a:latin typeface="+mn-lt"/>
        <a:ea typeface="+mn-ea"/>
        <a:cs typeface="+mn-cs"/>
      </a:defRPr>
    </a:lvl1pPr>
    <a:lvl2pPr marL="436361" algn="l" defTabSz="872722" rtl="0" eaLnBrk="1" latinLnBrk="0" hangingPunct="1">
      <a:defRPr sz="1100" kern="1200">
        <a:solidFill>
          <a:schemeClr val="tx1"/>
        </a:solidFill>
        <a:latin typeface="+mn-lt"/>
        <a:ea typeface="+mn-ea"/>
        <a:cs typeface="+mn-cs"/>
      </a:defRPr>
    </a:lvl2pPr>
    <a:lvl3pPr marL="872722" algn="l" defTabSz="872722" rtl="0" eaLnBrk="1" latinLnBrk="0" hangingPunct="1">
      <a:defRPr sz="1100" kern="1200">
        <a:solidFill>
          <a:schemeClr val="tx1"/>
        </a:solidFill>
        <a:latin typeface="+mn-lt"/>
        <a:ea typeface="+mn-ea"/>
        <a:cs typeface="+mn-cs"/>
      </a:defRPr>
    </a:lvl3pPr>
    <a:lvl4pPr marL="1309083" algn="l" defTabSz="872722" rtl="0" eaLnBrk="1" latinLnBrk="0" hangingPunct="1">
      <a:defRPr sz="1100" kern="1200">
        <a:solidFill>
          <a:schemeClr val="tx1"/>
        </a:solidFill>
        <a:latin typeface="+mn-lt"/>
        <a:ea typeface="+mn-ea"/>
        <a:cs typeface="+mn-cs"/>
      </a:defRPr>
    </a:lvl4pPr>
    <a:lvl5pPr marL="1745445" algn="l" defTabSz="872722" rtl="0" eaLnBrk="1" latinLnBrk="0" hangingPunct="1">
      <a:defRPr sz="1100" kern="1200">
        <a:solidFill>
          <a:schemeClr val="tx1"/>
        </a:solidFill>
        <a:latin typeface="+mn-lt"/>
        <a:ea typeface="+mn-ea"/>
        <a:cs typeface="+mn-cs"/>
      </a:defRPr>
    </a:lvl5pPr>
    <a:lvl6pPr marL="2181806" algn="l" defTabSz="872722" rtl="0" eaLnBrk="1" latinLnBrk="0" hangingPunct="1">
      <a:defRPr sz="1100" kern="1200">
        <a:solidFill>
          <a:schemeClr val="tx1"/>
        </a:solidFill>
        <a:latin typeface="+mn-lt"/>
        <a:ea typeface="+mn-ea"/>
        <a:cs typeface="+mn-cs"/>
      </a:defRPr>
    </a:lvl6pPr>
    <a:lvl7pPr marL="2618167" algn="l" defTabSz="872722" rtl="0" eaLnBrk="1" latinLnBrk="0" hangingPunct="1">
      <a:defRPr sz="1100" kern="1200">
        <a:solidFill>
          <a:schemeClr val="tx1"/>
        </a:solidFill>
        <a:latin typeface="+mn-lt"/>
        <a:ea typeface="+mn-ea"/>
        <a:cs typeface="+mn-cs"/>
      </a:defRPr>
    </a:lvl7pPr>
    <a:lvl8pPr marL="3054529" algn="l" defTabSz="872722" rtl="0" eaLnBrk="1" latinLnBrk="0" hangingPunct="1">
      <a:defRPr sz="1100" kern="1200">
        <a:solidFill>
          <a:schemeClr val="tx1"/>
        </a:solidFill>
        <a:latin typeface="+mn-lt"/>
        <a:ea typeface="+mn-ea"/>
        <a:cs typeface="+mn-cs"/>
      </a:defRPr>
    </a:lvl8pPr>
    <a:lvl9pPr marL="3490890" algn="l" defTabSz="872722"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2.jpg"/><Relationship Id="rId5" Type="http://schemas.openxmlformats.org/officeDocument/2006/relationships/image" Target="../media/image3.emf"/><Relationship Id="rId6" Type="http://schemas.openxmlformats.org/officeDocument/2006/relationships/image" Target="../media/image1.emf"/><Relationship Id="rId1" Type="http://schemas.openxmlformats.org/officeDocument/2006/relationships/tags" Target="../tags/tag2.x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4.jpeg"/><Relationship Id="rId5" Type="http://schemas.openxmlformats.org/officeDocument/2006/relationships/image" Target="../media/image3.emf"/><Relationship Id="rId6" Type="http://schemas.openxmlformats.org/officeDocument/2006/relationships/image" Target="../media/image1.emf"/><Relationship Id="rId1" Type="http://schemas.openxmlformats.org/officeDocument/2006/relationships/tags" Target="../tags/tag4.xml"/><Relationship Id="rId2"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slideMaster" Target="../slideMasters/slideMaster1.xml"/><Relationship Id="rId5" Type="http://schemas.openxmlformats.org/officeDocument/2006/relationships/image" Target="../media/image5.emf"/><Relationship Id="rId6" Type="http://schemas.openxmlformats.org/officeDocument/2006/relationships/image" Target="../media/image3.emf"/><Relationship Id="rId7" Type="http://schemas.openxmlformats.org/officeDocument/2006/relationships/image" Target="../media/image1.emf"/><Relationship Id="rId1" Type="http://schemas.openxmlformats.org/officeDocument/2006/relationships/tags" Target="../tags/tag6.xml"/><Relationship Id="rId2"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slideMaster" Target="../slideMasters/slideMaster1.xml"/><Relationship Id="rId5" Type="http://schemas.openxmlformats.org/officeDocument/2006/relationships/image" Target="../media/image6.png"/><Relationship Id="rId6" Type="http://schemas.openxmlformats.org/officeDocument/2006/relationships/image" Target="../media/image3.emf"/><Relationship Id="rId7" Type="http://schemas.openxmlformats.org/officeDocument/2006/relationships/image" Target="../media/image1.emf"/><Relationship Id="rId1" Type="http://schemas.openxmlformats.org/officeDocument/2006/relationships/tags" Target="../tags/tag9.xml"/><Relationship Id="rId2"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4" Type="http://schemas.openxmlformats.org/officeDocument/2006/relationships/image" Target="../media/image7.jpeg"/><Relationship Id="rId1" Type="http://schemas.openxmlformats.org/officeDocument/2006/relationships/tags" Target="../tags/tag12.xml"/><Relationship Id="rId2"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emf"/><Relationship Id="rId4" Type="http://schemas.openxmlformats.org/officeDocument/2006/relationships/image" Target="../media/image8.jpeg"/><Relationship Id="rId1" Type="http://schemas.openxmlformats.org/officeDocument/2006/relationships/tags" Target="../tags/tag13.xml"/><Relationship Id="rId2"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4" Type="http://schemas.openxmlformats.org/officeDocument/2006/relationships/image" Target="../media/image9.png"/><Relationship Id="rId1" Type="http://schemas.openxmlformats.org/officeDocument/2006/relationships/tags" Target="../tags/tag14.xml"/><Relationship Id="rId2"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emf"/><Relationship Id="rId4" Type="http://schemas.openxmlformats.org/officeDocument/2006/relationships/image" Target="../media/image10.png"/><Relationship Id="rId1" Type="http://schemas.openxmlformats.org/officeDocument/2006/relationships/tags" Target="../tags/tag15.xml"/><Relationship Id="rId2"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_1">
    <p:bg bwMode="auto">
      <p:bgPr>
        <a:solidFill>
          <a:schemeClr val="bg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xmlns="" id="{C379C7B8-31A1-400C-A115-8E2DB90EA81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7318" t="15405"/>
          <a:stretch/>
        </p:blipFill>
        <p:spPr bwMode="ltGray">
          <a:xfrm>
            <a:off x="354842" y="341193"/>
            <a:ext cx="9551158" cy="6520289"/>
          </a:xfrm>
          <a:prstGeom prst="rect">
            <a:avLst/>
          </a:prstGeom>
        </p:spPr>
      </p:pic>
      <p:sp>
        <p:nvSpPr>
          <p:cNvPr id="12" name="Freeform: Shape 11">
            <a:extLst>
              <a:ext uri="{FF2B5EF4-FFF2-40B4-BE49-F238E27FC236}">
                <a16:creationId xmlns:a16="http://schemas.microsoft.com/office/drawing/2014/main" xmlns="" id="{D1304B12-85B7-4EA6-AF85-9DA2846828DE}"/>
              </a:ext>
            </a:extLst>
          </p:cNvPr>
          <p:cNvSpPr>
            <a:spLocks/>
          </p:cNvSpPr>
          <p:nvPr userDrawn="1"/>
        </p:nvSpPr>
        <p:spPr bwMode="ltGray">
          <a:xfrm>
            <a:off x="0" y="-3483"/>
            <a:ext cx="9906000" cy="6861483"/>
          </a:xfrm>
          <a:custGeom>
            <a:avLst/>
            <a:gdLst>
              <a:gd name="connsiteX0" fmla="*/ 0 w 9906000"/>
              <a:gd name="connsiteY0" fmla="*/ 0 h 6861483"/>
              <a:gd name="connsiteX1" fmla="*/ 9906000 w 9906000"/>
              <a:gd name="connsiteY1" fmla="*/ 0 h 6861483"/>
              <a:gd name="connsiteX2" fmla="*/ 9906000 w 9906000"/>
              <a:gd name="connsiteY2" fmla="*/ 796636 h 6861483"/>
              <a:gd name="connsiteX3" fmla="*/ 9414128 w 9906000"/>
              <a:gd name="connsiteY3" fmla="*/ 796636 h 6861483"/>
              <a:gd name="connsiteX4" fmla="*/ 9414128 w 9906000"/>
              <a:gd name="connsiteY4" fmla="*/ 836881 h 6861483"/>
              <a:gd name="connsiteX5" fmla="*/ 9414128 w 9906000"/>
              <a:gd name="connsiteY5" fmla="*/ 2370360 h 6861483"/>
              <a:gd name="connsiteX6" fmla="*/ 5401599 w 9906000"/>
              <a:gd name="connsiteY6" fmla="*/ 3513685 h 6861483"/>
              <a:gd name="connsiteX7" fmla="*/ 5297907 w 9906000"/>
              <a:gd name="connsiteY7" fmla="*/ 3529390 h 6861483"/>
              <a:gd name="connsiteX8" fmla="*/ 4923991 w 9906000"/>
              <a:gd name="connsiteY8" fmla="*/ 3155611 h 6861483"/>
              <a:gd name="connsiteX9" fmla="*/ 4923991 w 9906000"/>
              <a:gd name="connsiteY9" fmla="*/ 796636 h 6861483"/>
              <a:gd name="connsiteX10" fmla="*/ 539017 w 9906000"/>
              <a:gd name="connsiteY10" fmla="*/ 796636 h 6861483"/>
              <a:gd name="connsiteX11" fmla="*/ 539017 w 9906000"/>
              <a:gd name="connsiteY11" fmla="*/ 864158 h 6861483"/>
              <a:gd name="connsiteX12" fmla="*/ 539017 w 9906000"/>
              <a:gd name="connsiteY12" fmla="*/ 5743883 h 6861483"/>
              <a:gd name="connsiteX13" fmla="*/ 542193 w 9906000"/>
              <a:gd name="connsiteY13" fmla="*/ 5794683 h 6861483"/>
              <a:gd name="connsiteX14" fmla="*/ 1164541 w 9906000"/>
              <a:gd name="connsiteY14" fmla="*/ 6359833 h 6861483"/>
              <a:gd name="connsiteX15" fmla="*/ 1320128 w 9906000"/>
              <a:gd name="connsiteY15" fmla="*/ 6337608 h 6861483"/>
              <a:gd name="connsiteX16" fmla="*/ 9906000 w 9906000"/>
              <a:gd name="connsiteY16" fmla="*/ 3892858 h 6861483"/>
              <a:gd name="connsiteX17" fmla="*/ 9906000 w 9906000"/>
              <a:gd name="connsiteY17" fmla="*/ 6861483 h 6861483"/>
              <a:gd name="connsiteX18" fmla="*/ 2400 w 9906000"/>
              <a:gd name="connsiteY18" fmla="*/ 6861483 h 6861483"/>
              <a:gd name="connsiteX19" fmla="*/ 2400 w 9906000"/>
              <a:gd name="connsiteY19" fmla="*/ 923389 h 6861483"/>
              <a:gd name="connsiteX20" fmla="*/ 2400 w 9906000"/>
              <a:gd name="connsiteY20" fmla="*/ 796636 h 6861483"/>
              <a:gd name="connsiteX21" fmla="*/ 0 w 9906000"/>
              <a:gd name="connsiteY21" fmla="*/ 796636 h 686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06000" h="6861483">
                <a:moveTo>
                  <a:pt x="0" y="0"/>
                </a:moveTo>
                <a:lnTo>
                  <a:pt x="9906000" y="0"/>
                </a:lnTo>
                <a:lnTo>
                  <a:pt x="9906000" y="796636"/>
                </a:lnTo>
                <a:lnTo>
                  <a:pt x="9414128" y="796636"/>
                </a:lnTo>
                <a:lnTo>
                  <a:pt x="9414128" y="836881"/>
                </a:lnTo>
                <a:cubicBezTo>
                  <a:pt x="9414128" y="2370360"/>
                  <a:pt x="9414128" y="2370360"/>
                  <a:pt x="9414128" y="2370360"/>
                </a:cubicBezTo>
                <a:cubicBezTo>
                  <a:pt x="5401599" y="3513685"/>
                  <a:pt x="5401599" y="3513685"/>
                  <a:pt x="5401599" y="3513685"/>
                </a:cubicBezTo>
                <a:cubicBezTo>
                  <a:pt x="5367035" y="3523108"/>
                  <a:pt x="5332471" y="3529390"/>
                  <a:pt x="5297907" y="3529390"/>
                </a:cubicBezTo>
                <a:cubicBezTo>
                  <a:pt x="5090525" y="3529390"/>
                  <a:pt x="4923991" y="3362917"/>
                  <a:pt x="4923991" y="3155611"/>
                </a:cubicBezTo>
                <a:lnTo>
                  <a:pt x="4923991" y="796636"/>
                </a:lnTo>
                <a:lnTo>
                  <a:pt x="539017" y="796636"/>
                </a:lnTo>
                <a:lnTo>
                  <a:pt x="539017" y="864158"/>
                </a:lnTo>
                <a:cubicBezTo>
                  <a:pt x="539017" y="1623577"/>
                  <a:pt x="539017" y="3053071"/>
                  <a:pt x="539017" y="5743883"/>
                </a:cubicBezTo>
                <a:cubicBezTo>
                  <a:pt x="539017" y="5762933"/>
                  <a:pt x="539017" y="5781983"/>
                  <a:pt x="542193" y="5794683"/>
                </a:cubicBezTo>
                <a:cubicBezTo>
                  <a:pt x="570770" y="6112183"/>
                  <a:pt x="837491" y="6359833"/>
                  <a:pt x="1164541" y="6359833"/>
                </a:cubicBezTo>
                <a:cubicBezTo>
                  <a:pt x="1218521" y="6359833"/>
                  <a:pt x="1269325" y="6350308"/>
                  <a:pt x="1320128" y="6337608"/>
                </a:cubicBezTo>
                <a:cubicBezTo>
                  <a:pt x="1323304" y="6337608"/>
                  <a:pt x="9906000" y="3892858"/>
                  <a:pt x="9906000" y="3892858"/>
                </a:cubicBezTo>
                <a:cubicBezTo>
                  <a:pt x="9906000" y="3892858"/>
                  <a:pt x="9906000" y="3892858"/>
                  <a:pt x="9906000" y="6861483"/>
                </a:cubicBezTo>
                <a:cubicBezTo>
                  <a:pt x="9906000" y="6861483"/>
                  <a:pt x="9906000" y="6861483"/>
                  <a:pt x="2400" y="6861483"/>
                </a:cubicBezTo>
                <a:cubicBezTo>
                  <a:pt x="2400" y="6861483"/>
                  <a:pt x="2400" y="6861483"/>
                  <a:pt x="2400" y="923389"/>
                </a:cubicBezTo>
                <a:lnTo>
                  <a:pt x="2400" y="796636"/>
                </a:lnTo>
                <a:lnTo>
                  <a:pt x="0" y="796636"/>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13" name="Title 1"/>
          <p:cNvSpPr>
            <a:spLocks noGrp="1"/>
          </p:cNvSpPr>
          <p:nvPr>
            <p:ph type="title"/>
          </p:nvPr>
        </p:nvSpPr>
        <p:spPr bwMode="ltGray">
          <a:xfrm>
            <a:off x="5122429" y="923925"/>
            <a:ext cx="3934260" cy="649049"/>
          </a:xfrm>
        </p:spPr>
        <p:txBody>
          <a:bodyPr/>
          <a:lstStyle>
            <a:lvl1pPr>
              <a:defRPr sz="2300" b="1">
                <a:solidFill>
                  <a:schemeClr val="tx1"/>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5122397" y="1774206"/>
            <a:ext cx="393432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xmlns="" id="{E4C1CE4C-D5ED-4D0F-8295-6E97D030B9F6}"/>
              </a:ext>
            </a:extLst>
          </p:cNvPr>
          <p:cNvSpPr>
            <a:spLocks noGrp="1"/>
          </p:cNvSpPr>
          <p:nvPr>
            <p:ph type="body" sz="quarter" idx="13"/>
          </p:nvPr>
        </p:nvSpPr>
        <p:spPr bwMode="ltGray">
          <a:xfrm rot="5400000">
            <a:off x="-2187007" y="3122528"/>
            <a:ext cx="4964616" cy="331984"/>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36" descr="C:\Users\Hannah\AppData\Roaming\Skype\My Skype Received Files\springernature_logo_v02.emf">
            <a:extLst>
              <a:ext uri="{FF2B5EF4-FFF2-40B4-BE49-F238E27FC236}">
                <a16:creationId xmlns:a16="http://schemas.microsoft.com/office/drawing/2014/main" xmlns="" id="{E76482CE-3279-4D5E-A3AE-73E8A91E10AB}"/>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val="0"/>
              </a:ext>
            </a:extLst>
          </a:blip>
          <a:srcRect/>
          <a:stretch>
            <a:fillRect/>
          </a:stretch>
        </p:blipFill>
        <p:spPr bwMode="ltGray">
          <a:xfrm>
            <a:off x="538163" y="396690"/>
            <a:ext cx="2269091" cy="1584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a:extLst>
              <a:ext uri="{FF2B5EF4-FFF2-40B4-BE49-F238E27FC236}">
                <a16:creationId xmlns:a16="http://schemas.microsoft.com/office/drawing/2014/main" xmlns="" id="{F9C50C3F-C3AD-453A-B33A-A03850E1D5E0}"/>
              </a:ext>
            </a:extLst>
          </p:cNvPr>
          <p:cNvPicPr>
            <a:picLocks noChangeAspect="1" noChangeArrowheads="1"/>
          </p:cNvPicPr>
          <p:nvPr userDrawn="1">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ltGray">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0420561"/>
      </p:ext>
    </p:extLst>
  </p:cSld>
  <p:clrMapOvr>
    <a:masterClrMapping/>
  </p:clrMapOvr>
  <p:extLst mod="1">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_2">
    <p:bg>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ext Placeholder 10"/>
          <p:cNvSpPr>
            <a:spLocks noGrp="1"/>
          </p:cNvSpPr>
          <p:nvPr>
            <p:ph type="body" sz="quarter" idx="14" hasCustomPrompt="1"/>
          </p:nvPr>
        </p:nvSpPr>
        <p:spPr bwMode="ltGray">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614861077"/>
      </p:ext>
    </p:extLst>
  </p:cSld>
  <p:clrMapOvr>
    <a:masterClrMapping/>
  </p:clrMapOvr>
  <p:extLst mod="1">
    <p:ext uri="{DCECCB84-F9BA-43D5-87BE-67443E8EF086}">
      <p15:sldGuideLst xmlns:p15="http://schemas.microsoft.com/office/powerpoint/2012/main">
        <p15:guide id="1" pos="10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quotes">
    <p:bg>
      <p:bgPr>
        <a:solidFill>
          <a:schemeClr val="bg1"/>
        </a:solidFill>
        <a:effectLst/>
      </p:bgPr>
    </p:bg>
    <p:spTree>
      <p:nvGrpSpPr>
        <p:cNvPr id="1" name=""/>
        <p:cNvGrpSpPr/>
        <p:nvPr/>
      </p:nvGrpSpPr>
      <p:grpSpPr>
        <a:xfrm>
          <a:off x="0" y="0"/>
          <a:ext cx="0" cy="0"/>
          <a:chOff x="0" y="0"/>
          <a:chExt cx="0" cy="0"/>
        </a:xfrm>
      </p:grpSpPr>
      <p:sp>
        <p:nvSpPr>
          <p:cNvPr id="15"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0"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21" name="Text Placeholder 10"/>
          <p:cNvSpPr>
            <a:spLocks noGrp="1"/>
          </p:cNvSpPr>
          <p:nvPr>
            <p:ph type="body" sz="quarter" idx="16"/>
          </p:nvPr>
        </p:nvSpPr>
        <p:spPr bwMode="ltGray">
          <a:xfrm>
            <a:off x="825500" y="1436688"/>
            <a:ext cx="8239126" cy="1692771"/>
          </a:xfrm>
        </p:spPr>
        <p:txBody>
          <a:bodyPr>
            <a:spAutoFit/>
          </a:bodyPr>
          <a:lstStyle>
            <a:lvl1pPr>
              <a:defRPr>
                <a:solidFill>
                  <a:schemeClr val="tx1"/>
                </a:solidFill>
              </a:defRPr>
            </a:lvl1pPr>
            <a:lvl2pP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5"/>
          <p:cNvSpPr>
            <a:spLocks noGrp="1"/>
          </p:cNvSpPr>
          <p:nvPr>
            <p:ph type="title"/>
          </p:nvPr>
        </p:nvSpPr>
        <p:spPr bwMode="ltGray"/>
        <p:txBody>
          <a:bodyPr/>
          <a:lstStyle>
            <a:lvl1pPr>
              <a:defRPr>
                <a:solidFill>
                  <a:schemeClr val="accent3"/>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43827145"/>
      </p:ext>
    </p:extLst>
  </p:cSld>
  <p:clrMapOvr>
    <a:masterClrMapping/>
  </p:clrMapOvr>
  <p:extLst mod="1">
    <p:ext uri="{DCECCB84-F9BA-43D5-87BE-67443E8EF086}">
      <p15:sldGuideLst xmlns:p15="http://schemas.microsoft.com/office/powerpoint/2012/main">
        <p15:guide id="1" pos="107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ltGray">
          <a:xfrm>
            <a:off x="825500" y="1436688"/>
            <a:ext cx="8239126" cy="1692771"/>
          </a:xfrm>
        </p:spPr>
        <p:txBody>
          <a:bodyPr>
            <a:spAutoFit/>
          </a:bodyPr>
          <a:lstStyle>
            <a:lvl3pPr>
              <a:buClr>
                <a:schemeClr val="tx1"/>
              </a:buClr>
              <a:defRPr/>
            </a:lvl3pPr>
            <a:lvl4pPr>
              <a:buClr>
                <a:schemeClr val="tx1"/>
              </a:buClr>
              <a:defRPr/>
            </a:lvl4pPr>
            <a:lvl5pPr>
              <a:buClr>
                <a:schemeClr val="tx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1"/>
          <p:cNvSpPr>
            <a:spLocks noGrp="1"/>
          </p:cNvSpPr>
          <p:nvPr>
            <p:ph type="title"/>
          </p:nvPr>
        </p:nvSpPr>
        <p:spPr bwMode="ltGray">
          <a:xfrm>
            <a:off x="825500" y="538163"/>
            <a:ext cx="8239126" cy="370558"/>
          </a:xfrm>
        </p:spPr>
        <p:txBody>
          <a:bodyPr/>
          <a:lstStyle>
            <a:lvl1pPr>
              <a:defRPr>
                <a:solidFill>
                  <a:schemeClr val="accent3"/>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4740474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bwMode="ltGray">
          <a:xfrm>
            <a:off x="5111856" y="1436688"/>
            <a:ext cx="3945600" cy="4303712"/>
          </a:xfrm>
        </p:spPr>
        <p:txBody>
          <a:bodyPr/>
          <a:lstStyle/>
          <a:p>
            <a:r>
              <a:rPr lang="en-US" dirty="0"/>
              <a:t>Click icon to add picture</a:t>
            </a:r>
            <a:endParaRPr lang="en-GB" dirty="0"/>
          </a:p>
        </p:txBody>
      </p:sp>
      <p:sp>
        <p:nvSpPr>
          <p:cNvPr id="8" name="Text Placeholder 10"/>
          <p:cNvSpPr>
            <a:spLocks noGrp="1"/>
          </p:cNvSpPr>
          <p:nvPr>
            <p:ph type="body" sz="quarter" idx="14"/>
          </p:nvPr>
        </p:nvSpPr>
        <p:spPr bwMode="ltGray">
          <a:xfrm>
            <a:off x="825500" y="1436688"/>
            <a:ext cx="3945600" cy="1692771"/>
          </a:xfrm>
        </p:spPr>
        <p:txBody>
          <a:bodyPr>
            <a:spAutoFit/>
          </a:bodyPr>
          <a:lstStyle>
            <a:lvl3pPr>
              <a:buClr>
                <a:schemeClr val="tx1"/>
              </a:buClr>
              <a:defRPr/>
            </a:lvl3pPr>
            <a:lvl4pPr>
              <a:buClr>
                <a:schemeClr val="tx1"/>
              </a:buClr>
              <a:defRPr/>
            </a:lvl4pPr>
            <a:lvl5pPr>
              <a:buClr>
                <a:schemeClr val="tx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a:extLst>
              <a:ext uri="{FF2B5EF4-FFF2-40B4-BE49-F238E27FC236}">
                <a16:creationId xmlns:a16="http://schemas.microsoft.com/office/drawing/2014/main" xmlns="" id="{CE5D7A5C-6C3A-4980-A038-E4F2020DA0B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949901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825253" y="1436688"/>
            <a:ext cx="3944548" cy="1692771"/>
          </a:xfrm>
        </p:spPr>
        <p:txBody>
          <a:bodyPr>
            <a:spAutoFit/>
          </a:bodyPr>
          <a:lstStyle>
            <a:lvl3pPr>
              <a:buClr>
                <a:schemeClr val="tx1"/>
              </a:buClr>
              <a:defRPr/>
            </a:lvl3pPr>
            <a:lvl4pPr>
              <a:buClr>
                <a:schemeClr val="tx1"/>
              </a:buClr>
              <a:defRPr/>
            </a:lvl4pPr>
            <a:lvl5pPr>
              <a:buClr>
                <a:schemeClr val="tx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10"/>
          <p:cNvSpPr>
            <a:spLocks noGrp="1"/>
          </p:cNvSpPr>
          <p:nvPr>
            <p:ph type="body" sz="quarter" idx="15"/>
          </p:nvPr>
        </p:nvSpPr>
        <p:spPr bwMode="ltGray">
          <a:xfrm>
            <a:off x="5120079" y="1436688"/>
            <a:ext cx="3944548" cy="1692771"/>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xmlns="" id="{988B3171-5080-4C3E-A3C0-EC35994151C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7106215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8" name="Text Placeholder 10"/>
          <p:cNvSpPr>
            <a:spLocks noGrp="1"/>
          </p:cNvSpPr>
          <p:nvPr>
            <p:ph type="body" sz="quarter" idx="14"/>
          </p:nvPr>
        </p:nvSpPr>
        <p:spPr bwMode="ltGray">
          <a:xfrm>
            <a:off x="825500" y="1436688"/>
            <a:ext cx="2501900" cy="20005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0"/>
          <p:cNvSpPr>
            <a:spLocks noGrp="1"/>
          </p:cNvSpPr>
          <p:nvPr>
            <p:ph type="body" sz="quarter" idx="15"/>
          </p:nvPr>
        </p:nvSpPr>
        <p:spPr bwMode="ltGray">
          <a:xfrm>
            <a:off x="3687763" y="1436688"/>
            <a:ext cx="2501900" cy="20005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0"/>
          <p:cNvSpPr>
            <a:spLocks noGrp="1"/>
          </p:cNvSpPr>
          <p:nvPr>
            <p:ph type="body" sz="quarter" idx="16"/>
          </p:nvPr>
        </p:nvSpPr>
        <p:spPr bwMode="ltGray">
          <a:xfrm>
            <a:off x="6550025" y="1436688"/>
            <a:ext cx="2501900" cy="200054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a:extLst>
              <a:ext uri="{FF2B5EF4-FFF2-40B4-BE49-F238E27FC236}">
                <a16:creationId xmlns:a16="http://schemas.microsoft.com/office/drawing/2014/main" xmlns="" id="{827FB9CE-A966-4320-B008-2CB2FD3D796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120650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29DF52-535E-4B78-B4F4-6C478ED3FBA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11084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Page_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xmlns="" id="{87CC746B-F3A4-4AE0-8B65-191DE20AF2E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42759" t="29531" r="1225"/>
          <a:stretch/>
        </p:blipFill>
        <p:spPr bwMode="ltGray">
          <a:xfrm>
            <a:off x="480497" y="0"/>
            <a:ext cx="9425503" cy="6414550"/>
          </a:xfrm>
          <a:prstGeom prst="rect">
            <a:avLst/>
          </a:prstGeom>
        </p:spPr>
      </p:pic>
      <p:sp>
        <p:nvSpPr>
          <p:cNvPr id="12" name="Freeform: Shape 11">
            <a:extLst>
              <a:ext uri="{FF2B5EF4-FFF2-40B4-BE49-F238E27FC236}">
                <a16:creationId xmlns:a16="http://schemas.microsoft.com/office/drawing/2014/main" xmlns="" id="{D1304B12-85B7-4EA6-AF85-9DA2846828DE}"/>
              </a:ext>
            </a:extLst>
          </p:cNvPr>
          <p:cNvSpPr>
            <a:spLocks/>
          </p:cNvSpPr>
          <p:nvPr userDrawn="1"/>
        </p:nvSpPr>
        <p:spPr bwMode="ltGray">
          <a:xfrm>
            <a:off x="0" y="-3483"/>
            <a:ext cx="9906000" cy="6861483"/>
          </a:xfrm>
          <a:custGeom>
            <a:avLst/>
            <a:gdLst>
              <a:gd name="connsiteX0" fmla="*/ 0 w 9906000"/>
              <a:gd name="connsiteY0" fmla="*/ 0 h 6861483"/>
              <a:gd name="connsiteX1" fmla="*/ 9906000 w 9906000"/>
              <a:gd name="connsiteY1" fmla="*/ 0 h 6861483"/>
              <a:gd name="connsiteX2" fmla="*/ 9906000 w 9906000"/>
              <a:gd name="connsiteY2" fmla="*/ 796636 h 6861483"/>
              <a:gd name="connsiteX3" fmla="*/ 9414128 w 9906000"/>
              <a:gd name="connsiteY3" fmla="*/ 796636 h 6861483"/>
              <a:gd name="connsiteX4" fmla="*/ 9414128 w 9906000"/>
              <a:gd name="connsiteY4" fmla="*/ 836881 h 6861483"/>
              <a:gd name="connsiteX5" fmla="*/ 9414128 w 9906000"/>
              <a:gd name="connsiteY5" fmla="*/ 2370360 h 6861483"/>
              <a:gd name="connsiteX6" fmla="*/ 5401599 w 9906000"/>
              <a:gd name="connsiteY6" fmla="*/ 3513685 h 6861483"/>
              <a:gd name="connsiteX7" fmla="*/ 5297907 w 9906000"/>
              <a:gd name="connsiteY7" fmla="*/ 3529390 h 6861483"/>
              <a:gd name="connsiteX8" fmla="*/ 4923991 w 9906000"/>
              <a:gd name="connsiteY8" fmla="*/ 3155611 h 6861483"/>
              <a:gd name="connsiteX9" fmla="*/ 4923991 w 9906000"/>
              <a:gd name="connsiteY9" fmla="*/ 796636 h 6861483"/>
              <a:gd name="connsiteX10" fmla="*/ 539017 w 9906000"/>
              <a:gd name="connsiteY10" fmla="*/ 796636 h 6861483"/>
              <a:gd name="connsiteX11" fmla="*/ 539017 w 9906000"/>
              <a:gd name="connsiteY11" fmla="*/ 864158 h 6861483"/>
              <a:gd name="connsiteX12" fmla="*/ 539017 w 9906000"/>
              <a:gd name="connsiteY12" fmla="*/ 5743883 h 6861483"/>
              <a:gd name="connsiteX13" fmla="*/ 542193 w 9906000"/>
              <a:gd name="connsiteY13" fmla="*/ 5794683 h 6861483"/>
              <a:gd name="connsiteX14" fmla="*/ 1164541 w 9906000"/>
              <a:gd name="connsiteY14" fmla="*/ 6359833 h 6861483"/>
              <a:gd name="connsiteX15" fmla="*/ 1320128 w 9906000"/>
              <a:gd name="connsiteY15" fmla="*/ 6337608 h 6861483"/>
              <a:gd name="connsiteX16" fmla="*/ 9906000 w 9906000"/>
              <a:gd name="connsiteY16" fmla="*/ 3892858 h 6861483"/>
              <a:gd name="connsiteX17" fmla="*/ 9906000 w 9906000"/>
              <a:gd name="connsiteY17" fmla="*/ 6861483 h 6861483"/>
              <a:gd name="connsiteX18" fmla="*/ 2400 w 9906000"/>
              <a:gd name="connsiteY18" fmla="*/ 6861483 h 6861483"/>
              <a:gd name="connsiteX19" fmla="*/ 2400 w 9906000"/>
              <a:gd name="connsiteY19" fmla="*/ 923389 h 6861483"/>
              <a:gd name="connsiteX20" fmla="*/ 2400 w 9906000"/>
              <a:gd name="connsiteY20" fmla="*/ 796636 h 6861483"/>
              <a:gd name="connsiteX21" fmla="*/ 0 w 9906000"/>
              <a:gd name="connsiteY21" fmla="*/ 796636 h 686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06000" h="6861483">
                <a:moveTo>
                  <a:pt x="0" y="0"/>
                </a:moveTo>
                <a:lnTo>
                  <a:pt x="9906000" y="0"/>
                </a:lnTo>
                <a:lnTo>
                  <a:pt x="9906000" y="796636"/>
                </a:lnTo>
                <a:lnTo>
                  <a:pt x="9414128" y="796636"/>
                </a:lnTo>
                <a:lnTo>
                  <a:pt x="9414128" y="836881"/>
                </a:lnTo>
                <a:cubicBezTo>
                  <a:pt x="9414128" y="2370360"/>
                  <a:pt x="9414128" y="2370360"/>
                  <a:pt x="9414128" y="2370360"/>
                </a:cubicBezTo>
                <a:cubicBezTo>
                  <a:pt x="5401599" y="3513685"/>
                  <a:pt x="5401599" y="3513685"/>
                  <a:pt x="5401599" y="3513685"/>
                </a:cubicBezTo>
                <a:cubicBezTo>
                  <a:pt x="5367035" y="3523108"/>
                  <a:pt x="5332471" y="3529390"/>
                  <a:pt x="5297907" y="3529390"/>
                </a:cubicBezTo>
                <a:cubicBezTo>
                  <a:pt x="5090525" y="3529390"/>
                  <a:pt x="4923991" y="3362917"/>
                  <a:pt x="4923991" y="3155611"/>
                </a:cubicBezTo>
                <a:lnTo>
                  <a:pt x="4923991" y="796636"/>
                </a:lnTo>
                <a:lnTo>
                  <a:pt x="539017" y="796636"/>
                </a:lnTo>
                <a:lnTo>
                  <a:pt x="539017" y="864158"/>
                </a:lnTo>
                <a:cubicBezTo>
                  <a:pt x="539017" y="1623577"/>
                  <a:pt x="539017" y="3053071"/>
                  <a:pt x="539017" y="5743883"/>
                </a:cubicBezTo>
                <a:cubicBezTo>
                  <a:pt x="539017" y="5762933"/>
                  <a:pt x="539017" y="5781983"/>
                  <a:pt x="542193" y="5794683"/>
                </a:cubicBezTo>
                <a:cubicBezTo>
                  <a:pt x="570770" y="6112183"/>
                  <a:pt x="837491" y="6359833"/>
                  <a:pt x="1164541" y="6359833"/>
                </a:cubicBezTo>
                <a:cubicBezTo>
                  <a:pt x="1218521" y="6359833"/>
                  <a:pt x="1269325" y="6350308"/>
                  <a:pt x="1320128" y="6337608"/>
                </a:cubicBezTo>
                <a:cubicBezTo>
                  <a:pt x="1323304" y="6337608"/>
                  <a:pt x="9906000" y="3892858"/>
                  <a:pt x="9906000" y="3892858"/>
                </a:cubicBezTo>
                <a:cubicBezTo>
                  <a:pt x="9906000" y="3892858"/>
                  <a:pt x="9906000" y="3892858"/>
                  <a:pt x="9906000" y="6861483"/>
                </a:cubicBezTo>
                <a:cubicBezTo>
                  <a:pt x="9906000" y="6861483"/>
                  <a:pt x="9906000" y="6861483"/>
                  <a:pt x="2400" y="6861483"/>
                </a:cubicBezTo>
                <a:cubicBezTo>
                  <a:pt x="2400" y="6861483"/>
                  <a:pt x="2400" y="6861483"/>
                  <a:pt x="2400" y="923389"/>
                </a:cubicBezTo>
                <a:lnTo>
                  <a:pt x="2400" y="796636"/>
                </a:lnTo>
                <a:lnTo>
                  <a:pt x="0" y="796636"/>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13" name="Title 1"/>
          <p:cNvSpPr>
            <a:spLocks noGrp="1"/>
          </p:cNvSpPr>
          <p:nvPr>
            <p:ph type="title"/>
          </p:nvPr>
        </p:nvSpPr>
        <p:spPr bwMode="ltGray">
          <a:xfrm>
            <a:off x="5122429" y="923925"/>
            <a:ext cx="3934260" cy="649049"/>
          </a:xfrm>
        </p:spPr>
        <p:txBody>
          <a:bodyPr/>
          <a:lstStyle>
            <a:lvl1pPr>
              <a:defRPr sz="2300" b="1">
                <a:solidFill>
                  <a:schemeClr val="tx1"/>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5122397" y="1774206"/>
            <a:ext cx="393432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xmlns="" id="{E4C1CE4C-D5ED-4D0F-8295-6E97D030B9F6}"/>
              </a:ext>
            </a:extLst>
          </p:cNvPr>
          <p:cNvSpPr>
            <a:spLocks noGrp="1"/>
          </p:cNvSpPr>
          <p:nvPr>
            <p:ph type="body" sz="quarter" idx="13"/>
          </p:nvPr>
        </p:nvSpPr>
        <p:spPr bwMode="ltGray">
          <a:xfrm rot="5400000">
            <a:off x="-2187007" y="3122528"/>
            <a:ext cx="4964616" cy="331984"/>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36" descr="C:\Users\Hannah\AppData\Roaming\Skype\My Skype Received Files\springernature_logo_v02.emf">
            <a:extLst>
              <a:ext uri="{FF2B5EF4-FFF2-40B4-BE49-F238E27FC236}">
                <a16:creationId xmlns:a16="http://schemas.microsoft.com/office/drawing/2014/main" xmlns="" id="{E76482CE-3279-4D5E-A3AE-73E8A91E10AB}"/>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val="0"/>
              </a:ext>
            </a:extLst>
          </a:blip>
          <a:srcRect/>
          <a:stretch>
            <a:fillRect/>
          </a:stretch>
        </p:blipFill>
        <p:spPr bwMode="ltGray">
          <a:xfrm>
            <a:off x="538163" y="396690"/>
            <a:ext cx="2269091" cy="1584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a:extLst>
              <a:ext uri="{FF2B5EF4-FFF2-40B4-BE49-F238E27FC236}">
                <a16:creationId xmlns:a16="http://schemas.microsoft.com/office/drawing/2014/main" xmlns="" id="{73B911D2-2833-4875-AFEB-C515C516B1E1}"/>
              </a:ext>
            </a:extLst>
          </p:cNvPr>
          <p:cNvPicPr>
            <a:picLocks noChangeAspect="1" noChangeArrowheads="1"/>
          </p:cNvPicPr>
          <p:nvPr userDrawn="1">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ltGray">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15242466"/>
      </p:ext>
    </p:extLst>
  </p:cSld>
  <p:clrMapOvr>
    <a:masterClrMapping/>
  </p:clrMapOvr>
  <p:extLst mod="1">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ge_3">
    <p:spTree>
      <p:nvGrpSpPr>
        <p:cNvPr id="1" name=""/>
        <p:cNvGrpSpPr/>
        <p:nvPr/>
      </p:nvGrpSpPr>
      <p:grpSpPr>
        <a:xfrm>
          <a:off x="0" y="0"/>
          <a:ext cx="0" cy="0"/>
          <a:chOff x="0" y="0"/>
          <a:chExt cx="0" cy="0"/>
        </a:xfrm>
      </p:grpSpPr>
      <p:pic>
        <p:nvPicPr>
          <p:cNvPr id="16" name="Picture 7" descr="C:\~GLUE - Hannah\01. Clients\01. HB\1. Small clients for HB\Projects\BRG Nature research (Antony Johnson) Jul 2016\2. Data and graphics\hodgkin banner_nr_colours_grey.emf">
            <a:extLst>
              <a:ext uri="{FF2B5EF4-FFF2-40B4-BE49-F238E27FC236}">
                <a16:creationId xmlns:a16="http://schemas.microsoft.com/office/drawing/2014/main" xmlns="" id="{9EA7AD26-1CEE-46E0-AE24-F28F5172042C}"/>
              </a:ext>
            </a:extLst>
          </p:cNvPr>
          <p:cNvPicPr>
            <a:picLocks noChangeAspect="1" noChangeArrowheads="1"/>
          </p:cNvPicPr>
          <p:nvPr userDrawn="1">
            <p:custDataLst>
              <p:tags r:id="rId1"/>
            </p:custDataLst>
          </p:nvPr>
        </p:nvPicPr>
        <p:blipFill rotWithShape="1">
          <a:blip r:embed="rId5" cstate="print">
            <a:extLst>
              <a:ext uri="{28A0092B-C50C-407E-A947-70E740481C1C}">
                <a14:useLocalDpi xmlns:a14="http://schemas.microsoft.com/office/drawing/2010/main" val="0"/>
              </a:ext>
            </a:extLst>
          </a:blip>
          <a:srcRect l="7601" t="39072" r="3608" b="32584"/>
          <a:stretch/>
        </p:blipFill>
        <p:spPr bwMode="ltGray">
          <a:xfrm>
            <a:off x="535200" y="798944"/>
            <a:ext cx="9370800" cy="5792925"/>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Shape 11">
            <a:extLst>
              <a:ext uri="{FF2B5EF4-FFF2-40B4-BE49-F238E27FC236}">
                <a16:creationId xmlns:a16="http://schemas.microsoft.com/office/drawing/2014/main" xmlns="" id="{D1304B12-85B7-4EA6-AF85-9DA2846828DE}"/>
              </a:ext>
            </a:extLst>
          </p:cNvPr>
          <p:cNvSpPr>
            <a:spLocks/>
          </p:cNvSpPr>
          <p:nvPr userDrawn="1"/>
        </p:nvSpPr>
        <p:spPr bwMode="ltGray">
          <a:xfrm>
            <a:off x="0" y="-3483"/>
            <a:ext cx="9906000" cy="6861483"/>
          </a:xfrm>
          <a:custGeom>
            <a:avLst/>
            <a:gdLst>
              <a:gd name="connsiteX0" fmla="*/ 0 w 9906000"/>
              <a:gd name="connsiteY0" fmla="*/ 0 h 6861483"/>
              <a:gd name="connsiteX1" fmla="*/ 9906000 w 9906000"/>
              <a:gd name="connsiteY1" fmla="*/ 0 h 6861483"/>
              <a:gd name="connsiteX2" fmla="*/ 9906000 w 9906000"/>
              <a:gd name="connsiteY2" fmla="*/ 796636 h 6861483"/>
              <a:gd name="connsiteX3" fmla="*/ 9414128 w 9906000"/>
              <a:gd name="connsiteY3" fmla="*/ 796636 h 6861483"/>
              <a:gd name="connsiteX4" fmla="*/ 9414128 w 9906000"/>
              <a:gd name="connsiteY4" fmla="*/ 836881 h 6861483"/>
              <a:gd name="connsiteX5" fmla="*/ 9414128 w 9906000"/>
              <a:gd name="connsiteY5" fmla="*/ 2370360 h 6861483"/>
              <a:gd name="connsiteX6" fmla="*/ 5401599 w 9906000"/>
              <a:gd name="connsiteY6" fmla="*/ 3513685 h 6861483"/>
              <a:gd name="connsiteX7" fmla="*/ 5297907 w 9906000"/>
              <a:gd name="connsiteY7" fmla="*/ 3529390 h 6861483"/>
              <a:gd name="connsiteX8" fmla="*/ 4923991 w 9906000"/>
              <a:gd name="connsiteY8" fmla="*/ 3155611 h 6861483"/>
              <a:gd name="connsiteX9" fmla="*/ 4923991 w 9906000"/>
              <a:gd name="connsiteY9" fmla="*/ 796636 h 6861483"/>
              <a:gd name="connsiteX10" fmla="*/ 539017 w 9906000"/>
              <a:gd name="connsiteY10" fmla="*/ 796636 h 6861483"/>
              <a:gd name="connsiteX11" fmla="*/ 539017 w 9906000"/>
              <a:gd name="connsiteY11" fmla="*/ 864158 h 6861483"/>
              <a:gd name="connsiteX12" fmla="*/ 539017 w 9906000"/>
              <a:gd name="connsiteY12" fmla="*/ 5743883 h 6861483"/>
              <a:gd name="connsiteX13" fmla="*/ 542193 w 9906000"/>
              <a:gd name="connsiteY13" fmla="*/ 5794683 h 6861483"/>
              <a:gd name="connsiteX14" fmla="*/ 1164541 w 9906000"/>
              <a:gd name="connsiteY14" fmla="*/ 6359833 h 6861483"/>
              <a:gd name="connsiteX15" fmla="*/ 1320128 w 9906000"/>
              <a:gd name="connsiteY15" fmla="*/ 6337608 h 6861483"/>
              <a:gd name="connsiteX16" fmla="*/ 9906000 w 9906000"/>
              <a:gd name="connsiteY16" fmla="*/ 3892858 h 6861483"/>
              <a:gd name="connsiteX17" fmla="*/ 9906000 w 9906000"/>
              <a:gd name="connsiteY17" fmla="*/ 6861483 h 6861483"/>
              <a:gd name="connsiteX18" fmla="*/ 2400 w 9906000"/>
              <a:gd name="connsiteY18" fmla="*/ 6861483 h 6861483"/>
              <a:gd name="connsiteX19" fmla="*/ 2400 w 9906000"/>
              <a:gd name="connsiteY19" fmla="*/ 923389 h 6861483"/>
              <a:gd name="connsiteX20" fmla="*/ 2400 w 9906000"/>
              <a:gd name="connsiteY20" fmla="*/ 796636 h 6861483"/>
              <a:gd name="connsiteX21" fmla="*/ 0 w 9906000"/>
              <a:gd name="connsiteY21" fmla="*/ 796636 h 686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06000" h="6861483">
                <a:moveTo>
                  <a:pt x="0" y="0"/>
                </a:moveTo>
                <a:lnTo>
                  <a:pt x="9906000" y="0"/>
                </a:lnTo>
                <a:lnTo>
                  <a:pt x="9906000" y="796636"/>
                </a:lnTo>
                <a:lnTo>
                  <a:pt x="9414128" y="796636"/>
                </a:lnTo>
                <a:lnTo>
                  <a:pt x="9414128" y="836881"/>
                </a:lnTo>
                <a:cubicBezTo>
                  <a:pt x="9414128" y="2370360"/>
                  <a:pt x="9414128" y="2370360"/>
                  <a:pt x="9414128" y="2370360"/>
                </a:cubicBezTo>
                <a:cubicBezTo>
                  <a:pt x="5401599" y="3513685"/>
                  <a:pt x="5401599" y="3513685"/>
                  <a:pt x="5401599" y="3513685"/>
                </a:cubicBezTo>
                <a:cubicBezTo>
                  <a:pt x="5367035" y="3523108"/>
                  <a:pt x="5332471" y="3529390"/>
                  <a:pt x="5297907" y="3529390"/>
                </a:cubicBezTo>
                <a:cubicBezTo>
                  <a:pt x="5090525" y="3529390"/>
                  <a:pt x="4923991" y="3362917"/>
                  <a:pt x="4923991" y="3155611"/>
                </a:cubicBezTo>
                <a:lnTo>
                  <a:pt x="4923991" y="796636"/>
                </a:lnTo>
                <a:lnTo>
                  <a:pt x="539017" y="796636"/>
                </a:lnTo>
                <a:lnTo>
                  <a:pt x="539017" y="864158"/>
                </a:lnTo>
                <a:cubicBezTo>
                  <a:pt x="539017" y="1623577"/>
                  <a:pt x="539017" y="3053071"/>
                  <a:pt x="539017" y="5743883"/>
                </a:cubicBezTo>
                <a:cubicBezTo>
                  <a:pt x="539017" y="5762933"/>
                  <a:pt x="539017" y="5781983"/>
                  <a:pt x="542193" y="5794683"/>
                </a:cubicBezTo>
                <a:cubicBezTo>
                  <a:pt x="570770" y="6112183"/>
                  <a:pt x="837491" y="6359833"/>
                  <a:pt x="1164541" y="6359833"/>
                </a:cubicBezTo>
                <a:cubicBezTo>
                  <a:pt x="1218521" y="6359833"/>
                  <a:pt x="1269325" y="6350308"/>
                  <a:pt x="1320128" y="6337608"/>
                </a:cubicBezTo>
                <a:cubicBezTo>
                  <a:pt x="1323304" y="6337608"/>
                  <a:pt x="9906000" y="3892858"/>
                  <a:pt x="9906000" y="3892858"/>
                </a:cubicBezTo>
                <a:cubicBezTo>
                  <a:pt x="9906000" y="3892858"/>
                  <a:pt x="9906000" y="3892858"/>
                  <a:pt x="9906000" y="6861483"/>
                </a:cubicBezTo>
                <a:cubicBezTo>
                  <a:pt x="9906000" y="6861483"/>
                  <a:pt x="9906000" y="6861483"/>
                  <a:pt x="2400" y="6861483"/>
                </a:cubicBezTo>
                <a:cubicBezTo>
                  <a:pt x="2400" y="6861483"/>
                  <a:pt x="2400" y="6861483"/>
                  <a:pt x="2400" y="923389"/>
                </a:cubicBezTo>
                <a:lnTo>
                  <a:pt x="2400" y="796636"/>
                </a:lnTo>
                <a:lnTo>
                  <a:pt x="0" y="796636"/>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13" name="Title 1"/>
          <p:cNvSpPr>
            <a:spLocks noGrp="1"/>
          </p:cNvSpPr>
          <p:nvPr>
            <p:ph type="title"/>
          </p:nvPr>
        </p:nvSpPr>
        <p:spPr bwMode="ltGray">
          <a:xfrm>
            <a:off x="5122429" y="923925"/>
            <a:ext cx="3934260" cy="649049"/>
          </a:xfrm>
        </p:spPr>
        <p:txBody>
          <a:bodyPr/>
          <a:lstStyle>
            <a:lvl1pPr>
              <a:defRPr sz="2300" b="1">
                <a:solidFill>
                  <a:schemeClr val="tx1"/>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5122397" y="1774206"/>
            <a:ext cx="393432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xmlns="" id="{E4C1CE4C-D5ED-4D0F-8295-6E97D030B9F6}"/>
              </a:ext>
            </a:extLst>
          </p:cNvPr>
          <p:cNvSpPr>
            <a:spLocks noGrp="1"/>
          </p:cNvSpPr>
          <p:nvPr>
            <p:ph type="body" sz="quarter" idx="13"/>
          </p:nvPr>
        </p:nvSpPr>
        <p:spPr bwMode="ltGray">
          <a:xfrm rot="5400000">
            <a:off x="-2187007" y="3122528"/>
            <a:ext cx="4964616" cy="331984"/>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36" descr="C:\Users\Hannah\AppData\Roaming\Skype\My Skype Received Files\springernature_logo_v02.emf">
            <a:extLst>
              <a:ext uri="{FF2B5EF4-FFF2-40B4-BE49-F238E27FC236}">
                <a16:creationId xmlns:a16="http://schemas.microsoft.com/office/drawing/2014/main" xmlns="" id="{E76482CE-3279-4D5E-A3AE-73E8A91E10AB}"/>
              </a:ext>
            </a:extLst>
          </p:cNvPr>
          <p:cNvPicPr>
            <a:picLocks noChangeAspect="1" noChangeArrowheads="1"/>
          </p:cNvPicPr>
          <p:nvPr userDrawn="1">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ltGray">
          <a:xfrm>
            <a:off x="538163" y="396690"/>
            <a:ext cx="2269091" cy="1584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a:extLst>
              <a:ext uri="{FF2B5EF4-FFF2-40B4-BE49-F238E27FC236}">
                <a16:creationId xmlns:a16="http://schemas.microsoft.com/office/drawing/2014/main" xmlns="" id="{CD417F2F-B300-4BD1-8EA7-A54EEBA67C28}"/>
              </a:ext>
            </a:extLst>
          </p:cNvPr>
          <p:cNvPicPr>
            <a:picLocks noChangeAspect="1" noChangeArrowheads="1"/>
          </p:cNvPicPr>
          <p:nvPr userDrawn="1">
            <p:custDataLst>
              <p:tags r:id="rId3"/>
            </p:custDataLst>
          </p:nvPr>
        </p:nvPicPr>
        <p:blipFill>
          <a:blip r:embed="rId7" cstate="print">
            <a:extLst>
              <a:ext uri="{28A0092B-C50C-407E-A947-70E740481C1C}">
                <a14:useLocalDpi xmlns:a14="http://schemas.microsoft.com/office/drawing/2010/main" val="0"/>
              </a:ext>
            </a:extLst>
          </a:blip>
          <a:srcRect/>
          <a:stretch>
            <a:fillRect/>
          </a:stretch>
        </p:blipFill>
        <p:spPr bwMode="ltGray">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1285910"/>
      </p:ext>
    </p:extLst>
  </p:cSld>
  <p:clrMapOvr>
    <a:masterClrMapping/>
  </p:clrMapOvr>
  <p:extLst mod="1">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age_4">
    <p:spTree>
      <p:nvGrpSpPr>
        <p:cNvPr id="1" name=""/>
        <p:cNvGrpSpPr/>
        <p:nvPr/>
      </p:nvGrpSpPr>
      <p:grpSpPr>
        <a:xfrm>
          <a:off x="0" y="0"/>
          <a:ext cx="0" cy="0"/>
          <a:chOff x="0" y="0"/>
          <a:chExt cx="0" cy="0"/>
        </a:xfrm>
      </p:grpSpPr>
      <p:pic>
        <p:nvPicPr>
          <p:cNvPr id="16" name="Picture 7">
            <a:extLst>
              <a:ext uri="{FF2B5EF4-FFF2-40B4-BE49-F238E27FC236}">
                <a16:creationId xmlns:a16="http://schemas.microsoft.com/office/drawing/2014/main" xmlns="" id="{13558560-7538-4304-A772-A9E2C8D79C12}"/>
              </a:ext>
            </a:extLst>
          </p:cNvPr>
          <p:cNvPicPr>
            <a:picLocks noChangeAspect="1" noChangeArrowheads="1"/>
          </p:cNvPicPr>
          <p:nvPr userDrawn="1">
            <p:custDataLst>
              <p:tags r:id="rId1"/>
            </p:custDataLst>
          </p:nvPr>
        </p:nvPicPr>
        <p:blipFill rotWithShape="1">
          <a:blip r:embed="rId5">
            <a:extLst>
              <a:ext uri="{28A0092B-C50C-407E-A947-70E740481C1C}">
                <a14:useLocalDpi xmlns:a14="http://schemas.microsoft.com/office/drawing/2010/main" val="0"/>
              </a:ext>
            </a:extLst>
          </a:blip>
          <a:srcRect l="21604" r="13414"/>
          <a:stretch/>
        </p:blipFill>
        <p:spPr bwMode="ltGray">
          <a:xfrm rot="10800000">
            <a:off x="-2" y="675086"/>
            <a:ext cx="9906001" cy="5787174"/>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Shape 11">
            <a:extLst>
              <a:ext uri="{FF2B5EF4-FFF2-40B4-BE49-F238E27FC236}">
                <a16:creationId xmlns:a16="http://schemas.microsoft.com/office/drawing/2014/main" xmlns="" id="{D1304B12-85B7-4EA6-AF85-9DA2846828DE}"/>
              </a:ext>
            </a:extLst>
          </p:cNvPr>
          <p:cNvSpPr>
            <a:spLocks/>
          </p:cNvSpPr>
          <p:nvPr userDrawn="1"/>
        </p:nvSpPr>
        <p:spPr bwMode="ltGray">
          <a:xfrm>
            <a:off x="0" y="-3483"/>
            <a:ext cx="9906000" cy="6861483"/>
          </a:xfrm>
          <a:custGeom>
            <a:avLst/>
            <a:gdLst>
              <a:gd name="connsiteX0" fmla="*/ 0 w 9906000"/>
              <a:gd name="connsiteY0" fmla="*/ 0 h 6861483"/>
              <a:gd name="connsiteX1" fmla="*/ 9906000 w 9906000"/>
              <a:gd name="connsiteY1" fmla="*/ 0 h 6861483"/>
              <a:gd name="connsiteX2" fmla="*/ 9906000 w 9906000"/>
              <a:gd name="connsiteY2" fmla="*/ 796636 h 6861483"/>
              <a:gd name="connsiteX3" fmla="*/ 9414128 w 9906000"/>
              <a:gd name="connsiteY3" fmla="*/ 796636 h 6861483"/>
              <a:gd name="connsiteX4" fmla="*/ 9414128 w 9906000"/>
              <a:gd name="connsiteY4" fmla="*/ 836881 h 6861483"/>
              <a:gd name="connsiteX5" fmla="*/ 9414128 w 9906000"/>
              <a:gd name="connsiteY5" fmla="*/ 2370360 h 6861483"/>
              <a:gd name="connsiteX6" fmla="*/ 5401599 w 9906000"/>
              <a:gd name="connsiteY6" fmla="*/ 3513685 h 6861483"/>
              <a:gd name="connsiteX7" fmla="*/ 5297907 w 9906000"/>
              <a:gd name="connsiteY7" fmla="*/ 3529390 h 6861483"/>
              <a:gd name="connsiteX8" fmla="*/ 4923991 w 9906000"/>
              <a:gd name="connsiteY8" fmla="*/ 3155611 h 6861483"/>
              <a:gd name="connsiteX9" fmla="*/ 4923991 w 9906000"/>
              <a:gd name="connsiteY9" fmla="*/ 796636 h 6861483"/>
              <a:gd name="connsiteX10" fmla="*/ 539017 w 9906000"/>
              <a:gd name="connsiteY10" fmla="*/ 796636 h 6861483"/>
              <a:gd name="connsiteX11" fmla="*/ 539017 w 9906000"/>
              <a:gd name="connsiteY11" fmla="*/ 864158 h 6861483"/>
              <a:gd name="connsiteX12" fmla="*/ 539017 w 9906000"/>
              <a:gd name="connsiteY12" fmla="*/ 5743883 h 6861483"/>
              <a:gd name="connsiteX13" fmla="*/ 542193 w 9906000"/>
              <a:gd name="connsiteY13" fmla="*/ 5794683 h 6861483"/>
              <a:gd name="connsiteX14" fmla="*/ 1164541 w 9906000"/>
              <a:gd name="connsiteY14" fmla="*/ 6359833 h 6861483"/>
              <a:gd name="connsiteX15" fmla="*/ 1320128 w 9906000"/>
              <a:gd name="connsiteY15" fmla="*/ 6337608 h 6861483"/>
              <a:gd name="connsiteX16" fmla="*/ 9906000 w 9906000"/>
              <a:gd name="connsiteY16" fmla="*/ 3892858 h 6861483"/>
              <a:gd name="connsiteX17" fmla="*/ 9906000 w 9906000"/>
              <a:gd name="connsiteY17" fmla="*/ 6861483 h 6861483"/>
              <a:gd name="connsiteX18" fmla="*/ 2400 w 9906000"/>
              <a:gd name="connsiteY18" fmla="*/ 6861483 h 6861483"/>
              <a:gd name="connsiteX19" fmla="*/ 2400 w 9906000"/>
              <a:gd name="connsiteY19" fmla="*/ 923389 h 6861483"/>
              <a:gd name="connsiteX20" fmla="*/ 2400 w 9906000"/>
              <a:gd name="connsiteY20" fmla="*/ 796636 h 6861483"/>
              <a:gd name="connsiteX21" fmla="*/ 0 w 9906000"/>
              <a:gd name="connsiteY21" fmla="*/ 796636 h 6861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06000" h="6861483">
                <a:moveTo>
                  <a:pt x="0" y="0"/>
                </a:moveTo>
                <a:lnTo>
                  <a:pt x="9906000" y="0"/>
                </a:lnTo>
                <a:lnTo>
                  <a:pt x="9906000" y="796636"/>
                </a:lnTo>
                <a:lnTo>
                  <a:pt x="9414128" y="796636"/>
                </a:lnTo>
                <a:lnTo>
                  <a:pt x="9414128" y="836881"/>
                </a:lnTo>
                <a:cubicBezTo>
                  <a:pt x="9414128" y="2370360"/>
                  <a:pt x="9414128" y="2370360"/>
                  <a:pt x="9414128" y="2370360"/>
                </a:cubicBezTo>
                <a:cubicBezTo>
                  <a:pt x="5401599" y="3513685"/>
                  <a:pt x="5401599" y="3513685"/>
                  <a:pt x="5401599" y="3513685"/>
                </a:cubicBezTo>
                <a:cubicBezTo>
                  <a:pt x="5367035" y="3523108"/>
                  <a:pt x="5332471" y="3529390"/>
                  <a:pt x="5297907" y="3529390"/>
                </a:cubicBezTo>
                <a:cubicBezTo>
                  <a:pt x="5090525" y="3529390"/>
                  <a:pt x="4923991" y="3362917"/>
                  <a:pt x="4923991" y="3155611"/>
                </a:cubicBezTo>
                <a:lnTo>
                  <a:pt x="4923991" y="796636"/>
                </a:lnTo>
                <a:lnTo>
                  <a:pt x="539017" y="796636"/>
                </a:lnTo>
                <a:lnTo>
                  <a:pt x="539017" y="864158"/>
                </a:lnTo>
                <a:cubicBezTo>
                  <a:pt x="539017" y="1623577"/>
                  <a:pt x="539017" y="3053071"/>
                  <a:pt x="539017" y="5743883"/>
                </a:cubicBezTo>
                <a:cubicBezTo>
                  <a:pt x="539017" y="5762933"/>
                  <a:pt x="539017" y="5781983"/>
                  <a:pt x="542193" y="5794683"/>
                </a:cubicBezTo>
                <a:cubicBezTo>
                  <a:pt x="570770" y="6112183"/>
                  <a:pt x="837491" y="6359833"/>
                  <a:pt x="1164541" y="6359833"/>
                </a:cubicBezTo>
                <a:cubicBezTo>
                  <a:pt x="1218521" y="6359833"/>
                  <a:pt x="1269325" y="6350308"/>
                  <a:pt x="1320128" y="6337608"/>
                </a:cubicBezTo>
                <a:cubicBezTo>
                  <a:pt x="1323304" y="6337608"/>
                  <a:pt x="9906000" y="3892858"/>
                  <a:pt x="9906000" y="3892858"/>
                </a:cubicBezTo>
                <a:cubicBezTo>
                  <a:pt x="9906000" y="3892858"/>
                  <a:pt x="9906000" y="3892858"/>
                  <a:pt x="9906000" y="6861483"/>
                </a:cubicBezTo>
                <a:cubicBezTo>
                  <a:pt x="9906000" y="6861483"/>
                  <a:pt x="9906000" y="6861483"/>
                  <a:pt x="2400" y="6861483"/>
                </a:cubicBezTo>
                <a:cubicBezTo>
                  <a:pt x="2400" y="6861483"/>
                  <a:pt x="2400" y="6861483"/>
                  <a:pt x="2400" y="923389"/>
                </a:cubicBezTo>
                <a:lnTo>
                  <a:pt x="2400" y="796636"/>
                </a:lnTo>
                <a:lnTo>
                  <a:pt x="0" y="796636"/>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13" name="Title 1"/>
          <p:cNvSpPr>
            <a:spLocks noGrp="1"/>
          </p:cNvSpPr>
          <p:nvPr>
            <p:ph type="title"/>
          </p:nvPr>
        </p:nvSpPr>
        <p:spPr bwMode="ltGray">
          <a:xfrm>
            <a:off x="5122429" y="923925"/>
            <a:ext cx="3934260" cy="649049"/>
          </a:xfrm>
        </p:spPr>
        <p:txBody>
          <a:bodyPr/>
          <a:lstStyle>
            <a:lvl1pPr>
              <a:defRPr sz="2300" b="1">
                <a:solidFill>
                  <a:schemeClr val="tx1"/>
                </a:solidFill>
              </a:defRPr>
            </a:lvl1pPr>
          </a:lstStyle>
          <a:p>
            <a:r>
              <a:rPr lang="en-US" dirty="0"/>
              <a:t>Click to edit Master title style</a:t>
            </a:r>
            <a:endParaRPr lang="en-GB" dirty="0"/>
          </a:p>
        </p:txBody>
      </p:sp>
      <p:sp>
        <p:nvSpPr>
          <p:cNvPr id="15" name="Text Placeholder 3"/>
          <p:cNvSpPr>
            <a:spLocks noGrp="1"/>
          </p:cNvSpPr>
          <p:nvPr>
            <p:ph type="body" sz="quarter" idx="12"/>
          </p:nvPr>
        </p:nvSpPr>
        <p:spPr bwMode="ltGray">
          <a:xfrm>
            <a:off x="5122397" y="1774206"/>
            <a:ext cx="3934321" cy="630942"/>
          </a:xfrm>
        </p:spPr>
        <p:txBody>
          <a:bodyPr/>
          <a:lstStyle>
            <a:lvl1pPr>
              <a:defRPr sz="2000" b="0">
                <a:solidFill>
                  <a:schemeClr val="accent3"/>
                </a:solidFill>
                <a:latin typeface="+mj-lt"/>
              </a:defRPr>
            </a:lvl1pPr>
            <a:lvl2pPr>
              <a:defRPr sz="1600">
                <a:solidFill>
                  <a:schemeClr val="accent3"/>
                </a:solidFill>
                <a:latin typeface="+mj-lt"/>
              </a:defRPr>
            </a:lvl2pPr>
          </a:lstStyle>
          <a:p>
            <a:pPr lvl="0"/>
            <a:r>
              <a:rPr lang="en-US" dirty="0"/>
              <a:t>Edit Master text styles</a:t>
            </a:r>
          </a:p>
          <a:p>
            <a:pPr lvl="1"/>
            <a:r>
              <a:rPr lang="en-US" dirty="0"/>
              <a:t>Second level</a:t>
            </a:r>
          </a:p>
        </p:txBody>
      </p:sp>
      <p:sp>
        <p:nvSpPr>
          <p:cNvPr id="5" name="Text Placeholder 4">
            <a:extLst>
              <a:ext uri="{FF2B5EF4-FFF2-40B4-BE49-F238E27FC236}">
                <a16:creationId xmlns:a16="http://schemas.microsoft.com/office/drawing/2014/main" xmlns="" id="{E4C1CE4C-D5ED-4D0F-8295-6E97D030B9F6}"/>
              </a:ext>
            </a:extLst>
          </p:cNvPr>
          <p:cNvSpPr>
            <a:spLocks noGrp="1"/>
          </p:cNvSpPr>
          <p:nvPr>
            <p:ph type="body" sz="quarter" idx="13"/>
          </p:nvPr>
        </p:nvSpPr>
        <p:spPr bwMode="ltGray">
          <a:xfrm rot="5400000">
            <a:off x="-2187007" y="3122528"/>
            <a:ext cx="4964616" cy="331984"/>
          </a:xfrm>
        </p:spPr>
        <p:txBody>
          <a:bodyPr>
            <a:noAutofit/>
          </a:bodyPr>
          <a:lstStyle>
            <a:lvl1pPr>
              <a:defRPr sz="1100" b="0"/>
            </a:lvl1pPr>
            <a:lvl2pPr>
              <a:defRPr sz="1100"/>
            </a:lvl2pPr>
            <a:lvl3pPr>
              <a:defRPr sz="1100"/>
            </a:lvl3pPr>
            <a:lvl4pPr>
              <a:defRPr sz="11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36" descr="C:\Users\Hannah\AppData\Roaming\Skype\My Skype Received Files\springernature_logo_v02.emf">
            <a:extLst>
              <a:ext uri="{FF2B5EF4-FFF2-40B4-BE49-F238E27FC236}">
                <a16:creationId xmlns:a16="http://schemas.microsoft.com/office/drawing/2014/main" xmlns="" id="{E76482CE-3279-4D5E-A3AE-73E8A91E10AB}"/>
              </a:ext>
            </a:extLst>
          </p:cNvPr>
          <p:cNvPicPr>
            <a:picLocks noChangeAspect="1" noChangeArrowheads="1"/>
          </p:cNvPicPr>
          <p:nvPr userDrawn="1">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ltGray">
          <a:xfrm>
            <a:off x="538163" y="396690"/>
            <a:ext cx="2269091" cy="1584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a:extLst>
              <a:ext uri="{FF2B5EF4-FFF2-40B4-BE49-F238E27FC236}">
                <a16:creationId xmlns:a16="http://schemas.microsoft.com/office/drawing/2014/main" xmlns="" id="{7381F2D9-F3FC-4CD1-8755-28F26C008B1E}"/>
              </a:ext>
            </a:extLst>
          </p:cNvPr>
          <p:cNvPicPr>
            <a:picLocks noChangeAspect="1" noChangeArrowheads="1"/>
          </p:cNvPicPr>
          <p:nvPr userDrawn="1">
            <p:custDataLst>
              <p:tags r:id="rId3"/>
            </p:custDataLst>
          </p:nvPr>
        </p:nvPicPr>
        <p:blipFill>
          <a:blip r:embed="rId7" cstate="print">
            <a:extLst>
              <a:ext uri="{28A0092B-C50C-407E-A947-70E740481C1C}">
                <a14:useLocalDpi xmlns:a14="http://schemas.microsoft.com/office/drawing/2010/main" val="0"/>
              </a:ext>
            </a:extLst>
          </a:blip>
          <a:srcRect/>
          <a:stretch>
            <a:fillRect/>
          </a:stretch>
        </p:blipFill>
        <p:spPr bwMode="ltGray">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5587430"/>
      </p:ext>
    </p:extLst>
  </p:cSld>
  <p:clrMapOvr>
    <a:masterClrMapping/>
  </p:clrMapOvr>
  <p:extLst mod="1">
    <p:ext uri="{DCECCB84-F9BA-43D5-87BE-67443E8EF086}">
      <p15:sldGuideLst xmlns:p15="http://schemas.microsoft.com/office/powerpoint/2012/main">
        <p15:guide id="1" pos="1079">
          <p15:clr>
            <a:srgbClr val="FBAE40"/>
          </p15:clr>
        </p15:guide>
        <p15:guide id="2" orient="horz" pos="465">
          <p15:clr>
            <a:srgbClr val="FBAE40"/>
          </p15:clr>
        </p15:guide>
        <p15:guide id="3" pos="339">
          <p15:clr>
            <a:srgbClr val="FBAE40"/>
          </p15:clr>
        </p15:guide>
        <p15:guide id="4" pos="5922">
          <p15:clr>
            <a:srgbClr val="FBAE40"/>
          </p15:clr>
        </p15:guide>
        <p15:guide id="5" orient="horz" pos="400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4600" y="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accent3"/>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tx1"/>
                </a:solidFill>
              </a:defRPr>
            </a:lvl1pPr>
            <a:lvl2pP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pPr>
              <a:buClr>
                <a:schemeClr val="accent1"/>
              </a:buClr>
            </a:pPr>
            <a:r>
              <a:rPr lang="en-GB" sz="1200" dirty="0">
                <a:solidFill>
                  <a:schemeClr val="tx1"/>
                </a:solidFill>
              </a:rPr>
              <a:t>The story behind the image</a:t>
            </a:r>
          </a:p>
        </p:txBody>
      </p:sp>
      <p:pic>
        <p:nvPicPr>
          <p:cNvPr id="18" name="Picture 5">
            <a:extLst>
              <a:ext uri="{FF2B5EF4-FFF2-40B4-BE49-F238E27FC236}">
                <a16:creationId xmlns:a16="http://schemas.microsoft.com/office/drawing/2014/main" xmlns="" id="{8BB14ACC-CCFC-48E7-99E8-294D2F2AD0F3}"/>
              </a:ext>
            </a:extLst>
          </p:cNvPr>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ltGray">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a:extLst>
              <a:ext uri="{FF2B5EF4-FFF2-40B4-BE49-F238E27FC236}">
                <a16:creationId xmlns:a16="http://schemas.microsoft.com/office/drawing/2014/main" xmlns="" id="{E7523455-18D3-4DEC-841D-B76600B94C3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7318" t="15405"/>
          <a:stretch/>
        </p:blipFill>
        <p:spPr bwMode="ltGray">
          <a:xfrm>
            <a:off x="6047471" y="1795228"/>
            <a:ext cx="1176528" cy="768356"/>
          </a:xfrm>
          <a:prstGeom prst="rect">
            <a:avLst/>
          </a:prstGeom>
        </p:spPr>
      </p:pic>
      <p:sp>
        <p:nvSpPr>
          <p:cNvPr id="19" name="TextBox 18">
            <a:extLst>
              <a:ext uri="{FF2B5EF4-FFF2-40B4-BE49-F238E27FC236}">
                <a16:creationId xmlns:a16="http://schemas.microsoft.com/office/drawing/2014/main" xmlns="" id="{657813A0-5CB0-465E-8D42-D914653BD266}"/>
              </a:ext>
            </a:extLst>
          </p:cNvPr>
          <p:cNvSpPr txBox="1"/>
          <p:nvPr userDrawn="1"/>
        </p:nvSpPr>
        <p:spPr bwMode="ltGray">
          <a:xfrm>
            <a:off x="7241474" y="1722408"/>
            <a:ext cx="2159068" cy="1534642"/>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de-DE" sz="1000" b="1" dirty="0">
                <a:solidFill>
                  <a:schemeClr val="tx1"/>
                </a:solidFill>
              </a:rPr>
              <a:t>How chameleons change colour</a:t>
            </a:r>
          </a:p>
          <a:p>
            <a:pPr lvl="0">
              <a:lnSpc>
                <a:spcPct val="100000"/>
              </a:lnSpc>
              <a:spcAft>
                <a:spcPts val="600"/>
              </a:spcAft>
            </a:pPr>
            <a:r>
              <a:rPr lang="en-US" sz="800" dirty="0">
                <a:solidFill>
                  <a:schemeClr val="tx1"/>
                </a:solidFill>
              </a:rPr>
              <a:t>Chameleons are well known for their potential to change colour but recent research on panther chameleons is the first to find two layers of crystal containing cells, each with a potentially different purpose. Researchers from the University of Geneva have speculated that the deeper crystal containing cells may help with the regulation of temperature, whilst the more superficial layer of colour changing cells could be responsible for camouflage or mating displays.</a:t>
            </a:r>
          </a:p>
        </p:txBody>
      </p:sp>
    </p:spTree>
    <p:extLst>
      <p:ext uri="{BB962C8B-B14F-4D97-AF65-F5344CB8AC3E}">
        <p14:creationId xmlns:p14="http://schemas.microsoft.com/office/powerpoint/2010/main" val="392533446"/>
      </p:ext>
    </p:extLst>
  </p:cSld>
  <p:clrMapOvr>
    <a:masterClrMapping/>
  </p:clrMapOvr>
  <p:extLst mod="1">
    <p:ext uri="{DCECCB84-F9BA-43D5-87BE-67443E8EF086}">
      <p15:sldGuideLst xmlns:p15="http://schemas.microsoft.com/office/powerpoint/2012/main">
        <p15:guide id="1" pos="1079" userDrawn="1">
          <p15:clr>
            <a:srgbClr val="FBAE40"/>
          </p15:clr>
        </p15:guide>
        <p15:guide id="2" pos="592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4600" y="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accent3"/>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tx1"/>
                </a:solidFill>
              </a:defRPr>
            </a:lvl1pPr>
            <a:lvl2pP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pPr>
              <a:buClr>
                <a:schemeClr val="accent1"/>
              </a:buClr>
            </a:pPr>
            <a:r>
              <a:rPr lang="en-GB" sz="1200" dirty="0">
                <a:solidFill>
                  <a:schemeClr val="tx1"/>
                </a:solidFill>
              </a:rPr>
              <a:t>The story behind the image</a:t>
            </a:r>
          </a:p>
        </p:txBody>
      </p:sp>
      <p:pic>
        <p:nvPicPr>
          <p:cNvPr id="14" name="Picture 5">
            <a:extLst>
              <a:ext uri="{FF2B5EF4-FFF2-40B4-BE49-F238E27FC236}">
                <a16:creationId xmlns:a16="http://schemas.microsoft.com/office/drawing/2014/main" xmlns="" id="{4387964B-0AB3-4E9A-BC2E-756E3B469A13}"/>
              </a:ext>
            </a:extLst>
          </p:cNvPr>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ltGray">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17">
            <a:extLst>
              <a:ext uri="{FF2B5EF4-FFF2-40B4-BE49-F238E27FC236}">
                <a16:creationId xmlns:a16="http://schemas.microsoft.com/office/drawing/2014/main" xmlns="" id="{A1DF583F-4EFC-42F4-9A04-1B38109D600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35090" t="31168" r="10195"/>
          <a:stretch/>
        </p:blipFill>
        <p:spPr bwMode="ltGray">
          <a:xfrm>
            <a:off x="6047472" y="1795226"/>
            <a:ext cx="1176527" cy="773998"/>
          </a:xfrm>
          <a:prstGeom prst="rect">
            <a:avLst/>
          </a:prstGeom>
        </p:spPr>
      </p:pic>
      <p:sp>
        <p:nvSpPr>
          <p:cNvPr id="19" name="TextBox 18">
            <a:extLst>
              <a:ext uri="{FF2B5EF4-FFF2-40B4-BE49-F238E27FC236}">
                <a16:creationId xmlns:a16="http://schemas.microsoft.com/office/drawing/2014/main" xmlns="" id="{0510C284-2C63-48AC-A8CA-DF10EDBF6BEC}"/>
              </a:ext>
            </a:extLst>
          </p:cNvPr>
          <p:cNvSpPr txBox="1"/>
          <p:nvPr userDrawn="1"/>
        </p:nvSpPr>
        <p:spPr bwMode="ltGray">
          <a:xfrm>
            <a:off x="7241474" y="1722408"/>
            <a:ext cx="2159068" cy="193475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solidFill>
                  <a:schemeClr val="tx1"/>
                </a:solidFill>
              </a:rPr>
              <a:t>Antarctica meltdown could </a:t>
            </a:r>
            <a:br>
              <a:rPr lang="en-US" sz="1000" b="1" dirty="0">
                <a:solidFill>
                  <a:schemeClr val="tx1"/>
                </a:solidFill>
              </a:rPr>
            </a:br>
            <a:r>
              <a:rPr lang="en-US" sz="1000" b="1" dirty="0">
                <a:solidFill>
                  <a:schemeClr val="tx1"/>
                </a:solidFill>
              </a:rPr>
              <a:t>double sea level rise</a:t>
            </a:r>
          </a:p>
          <a:p>
            <a:pPr lvl="0">
              <a:lnSpc>
                <a:spcPct val="100000"/>
              </a:lnSpc>
              <a:spcAft>
                <a:spcPts val="600"/>
              </a:spcAft>
            </a:pPr>
            <a:r>
              <a:rPr lang="en-US" sz="800" dirty="0">
                <a:solidFill>
                  <a:schemeClr val="tx1"/>
                </a:solidFill>
              </a:rPr>
              <a:t>Researchers at Pennsylvania State University have been considering how quickly a glacial ice melt in Antarctica would raise sea levels. By updating models with new discoveries and comparing them with past sea-level rise events they predict that a melting Antarctica could raise oceans by more than 3 feet by the end of the century if greenhouse gas emissions continued unabated, roughly doubling previous total sea-level rise estimates. Rising seas could put many of the world’s coastlines underwater or at risk of flooding and storm surges.</a:t>
            </a:r>
          </a:p>
        </p:txBody>
      </p:sp>
    </p:spTree>
    <p:extLst>
      <p:ext uri="{BB962C8B-B14F-4D97-AF65-F5344CB8AC3E}">
        <p14:creationId xmlns:p14="http://schemas.microsoft.com/office/powerpoint/2010/main" val="1811752756"/>
      </p:ext>
    </p:extLst>
  </p:cSld>
  <p:clrMapOvr>
    <a:masterClrMapping/>
  </p:clrMapOvr>
  <p:extLst mod="1">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4600" y="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accent3"/>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tx1"/>
                </a:solidFill>
              </a:defRPr>
            </a:lvl1pPr>
            <a:lvl2pP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pPr>
              <a:buClr>
                <a:schemeClr val="accent1"/>
              </a:buClr>
            </a:pPr>
            <a:r>
              <a:rPr lang="en-GB" sz="1200" dirty="0">
                <a:solidFill>
                  <a:schemeClr val="tx1"/>
                </a:solidFill>
              </a:rPr>
              <a:t>The story behind the image</a:t>
            </a:r>
          </a:p>
        </p:txBody>
      </p:sp>
      <p:pic>
        <p:nvPicPr>
          <p:cNvPr id="14" name="Picture 5">
            <a:extLst>
              <a:ext uri="{FF2B5EF4-FFF2-40B4-BE49-F238E27FC236}">
                <a16:creationId xmlns:a16="http://schemas.microsoft.com/office/drawing/2014/main" xmlns="" id="{5A2E31DD-D6A9-4883-BA76-45F06D045119}"/>
              </a:ext>
            </a:extLst>
          </p:cNvPr>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ltGray">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2">
            <a:extLst>
              <a:ext uri="{FF2B5EF4-FFF2-40B4-BE49-F238E27FC236}">
                <a16:creationId xmlns:a16="http://schemas.microsoft.com/office/drawing/2014/main" xmlns="" id="{9C50DFB8-A5B1-4512-B95A-F44A8C36EFD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ltGray">
          <a:xfrm>
            <a:off x="6047469" y="1795225"/>
            <a:ext cx="649166" cy="1375421"/>
          </a:xfrm>
          <a:prstGeom prst="rect">
            <a:avLst/>
          </a:prstGeom>
          <a:noFill/>
          <a:ln>
            <a:solidFill>
              <a:schemeClr val="bg1"/>
            </a:solidFill>
          </a:ln>
        </p:spPr>
      </p:pic>
      <p:sp>
        <p:nvSpPr>
          <p:cNvPr id="19" name="TextBox 18">
            <a:extLst>
              <a:ext uri="{FF2B5EF4-FFF2-40B4-BE49-F238E27FC236}">
                <a16:creationId xmlns:a16="http://schemas.microsoft.com/office/drawing/2014/main" xmlns="" id="{08A33E27-A73C-4019-B4DC-209597DEC43A}"/>
              </a:ext>
            </a:extLst>
          </p:cNvPr>
          <p:cNvSpPr txBox="1"/>
          <p:nvPr userDrawn="1"/>
        </p:nvSpPr>
        <p:spPr bwMode="ltGray">
          <a:xfrm>
            <a:off x="6702243" y="1722408"/>
            <a:ext cx="2644509" cy="1042199"/>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solidFill>
                  <a:schemeClr val="tx1"/>
                </a:solidFill>
              </a:rPr>
              <a:t>Dorothy Hodgkin (1910–1994)</a:t>
            </a:r>
          </a:p>
          <a:p>
            <a:pPr lvl="0">
              <a:lnSpc>
                <a:spcPct val="100000"/>
              </a:lnSpc>
              <a:spcAft>
                <a:spcPts val="600"/>
              </a:spcAft>
            </a:pPr>
            <a:r>
              <a:rPr lang="en-US" sz="800" dirty="0">
                <a:solidFill>
                  <a:schemeClr val="tx1"/>
                </a:solidFill>
              </a:rPr>
              <a:t>Dorothy Hodgkin pioneered the application of x-ray crystallography techniques to determine the three-dimensional structure of biomolecules, helping to unravel how their atomic arrangements influence how they work in the body. She remains the only British woman scientist to have been awarded the Nobel Prize for Chemistry. </a:t>
            </a:r>
          </a:p>
        </p:txBody>
      </p:sp>
    </p:spTree>
    <p:extLst>
      <p:ext uri="{BB962C8B-B14F-4D97-AF65-F5344CB8AC3E}">
        <p14:creationId xmlns:p14="http://schemas.microsoft.com/office/powerpoint/2010/main" val="2870858827"/>
      </p:ext>
    </p:extLst>
  </p:cSld>
  <p:clrMapOvr>
    <a:masterClrMapping/>
  </p:clrMapOvr>
  <p:extLst mod="1">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Back Page_1">
    <p:bg>
      <p:bgPr>
        <a:solidFill>
          <a:schemeClr val="bg1"/>
        </a:solidFill>
        <a:effectLst/>
      </p:bgPr>
    </p:bg>
    <p:spTree>
      <p:nvGrpSpPr>
        <p:cNvPr id="1" name=""/>
        <p:cNvGrpSpPr/>
        <p:nvPr/>
      </p:nvGrpSpPr>
      <p:grpSpPr>
        <a:xfrm>
          <a:off x="0" y="0"/>
          <a:ext cx="0" cy="0"/>
          <a:chOff x="0" y="0"/>
          <a:chExt cx="0" cy="0"/>
        </a:xfrm>
      </p:grpSpPr>
      <p:sp>
        <p:nvSpPr>
          <p:cNvPr id="11" name="Rectangle 3"/>
          <p:cNvSpPr/>
          <p:nvPr userDrawn="1"/>
        </p:nvSpPr>
        <p:spPr bwMode="ltGray">
          <a:xfrm>
            <a:off x="534600" y="0"/>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rgbClr val="E6E7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2" name="Title 1"/>
          <p:cNvSpPr>
            <a:spLocks noGrp="1"/>
          </p:cNvSpPr>
          <p:nvPr>
            <p:ph type="title" hasCustomPrompt="1"/>
          </p:nvPr>
        </p:nvSpPr>
        <p:spPr bwMode="ltGray">
          <a:xfrm>
            <a:off x="825501" y="563563"/>
            <a:ext cx="8239126" cy="370558"/>
          </a:xfrm>
        </p:spPr>
        <p:txBody>
          <a:bodyPr/>
          <a:lstStyle>
            <a:lvl1pPr>
              <a:lnSpc>
                <a:spcPct val="85000"/>
              </a:lnSpc>
              <a:defRPr sz="3600" b="1" baseline="0">
                <a:solidFill>
                  <a:schemeClr val="accent3"/>
                </a:solidFill>
              </a:defRPr>
            </a:lvl1pPr>
          </a:lstStyle>
          <a:p>
            <a:r>
              <a:rPr lang="en-US" dirty="0"/>
              <a:t>Statement/quote slide</a:t>
            </a:r>
            <a:endParaRPr lang="en-GB"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8" name="Text Placeholder 10"/>
          <p:cNvSpPr>
            <a:spLocks noGrp="1"/>
          </p:cNvSpPr>
          <p:nvPr>
            <p:ph type="body" sz="quarter" idx="14"/>
          </p:nvPr>
        </p:nvSpPr>
        <p:spPr bwMode="ltGray">
          <a:xfrm>
            <a:off x="825500" y="1412875"/>
            <a:ext cx="4508500" cy="1957459"/>
          </a:xfrm>
        </p:spPr>
        <p:txBody>
          <a:bodyPr wrap="square">
            <a:spAutoFit/>
          </a:bodyPr>
          <a:lstStyle>
            <a:lvl1pPr>
              <a:lnSpc>
                <a:spcPct val="105000"/>
              </a:lnSpc>
              <a:spcAft>
                <a:spcPts val="1800"/>
              </a:spcAft>
              <a:defRPr sz="2200" b="0">
                <a:solidFill>
                  <a:schemeClr val="tx1"/>
                </a:solidFill>
              </a:defRPr>
            </a:lvl1pPr>
            <a:lvl2pP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p:cNvSpPr/>
          <p:nvPr userDrawn="1"/>
        </p:nvSpPr>
        <p:spPr bwMode="ltGray">
          <a:xfrm>
            <a:off x="5849137" y="5637540"/>
            <a:ext cx="3778513" cy="1220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cxnSp>
        <p:nvCxnSpPr>
          <p:cNvPr id="15" name="Straight Connector 14">
            <a:extLst>
              <a:ext uri="{FF2B5EF4-FFF2-40B4-BE49-F238E27FC236}">
                <a16:creationId xmlns:a16="http://schemas.microsoft.com/office/drawing/2014/main" xmlns="" id="{FEF262B8-4D52-4170-8AFE-18155C87FEC3}"/>
              </a:ext>
            </a:extLst>
          </p:cNvPr>
          <p:cNvCxnSpPr>
            <a:cxnSpLocks/>
          </p:cNvCxnSpPr>
          <p:nvPr/>
        </p:nvCxnSpPr>
        <p:spPr bwMode="ltGray">
          <a:xfrm>
            <a:off x="6047470" y="1695800"/>
            <a:ext cx="3362795" cy="0"/>
          </a:xfrm>
          <a:prstGeom prst="line">
            <a:avLst/>
          </a:prstGeom>
          <a:ln w="952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DF3B8F01-B8A3-4511-B293-FFF292F62862}"/>
              </a:ext>
            </a:extLst>
          </p:cNvPr>
          <p:cNvSpPr txBox="1"/>
          <p:nvPr/>
        </p:nvSpPr>
        <p:spPr bwMode="ltGray">
          <a:xfrm>
            <a:off x="6047470" y="1458217"/>
            <a:ext cx="1718419" cy="184666"/>
          </a:xfrm>
          <a:prstGeom prst="rect">
            <a:avLst/>
          </a:prstGeom>
          <a:noFill/>
        </p:spPr>
        <p:txBody>
          <a:bodyPr wrap="none" lIns="0" tIns="0" rIns="0" bIns="0" rtlCol="0">
            <a:spAutoFit/>
          </a:bodyPr>
          <a:lstStyle/>
          <a:p>
            <a:pPr>
              <a:buClr>
                <a:schemeClr val="accent1"/>
              </a:buClr>
            </a:pPr>
            <a:r>
              <a:rPr lang="en-GB" sz="1200" dirty="0">
                <a:solidFill>
                  <a:schemeClr val="tx1"/>
                </a:solidFill>
              </a:rPr>
              <a:t>The story behind the image</a:t>
            </a:r>
          </a:p>
        </p:txBody>
      </p:sp>
      <p:pic>
        <p:nvPicPr>
          <p:cNvPr id="14" name="Picture 5">
            <a:extLst>
              <a:ext uri="{FF2B5EF4-FFF2-40B4-BE49-F238E27FC236}">
                <a16:creationId xmlns:a16="http://schemas.microsoft.com/office/drawing/2014/main" xmlns="" id="{A9A5AD45-3516-4023-90B6-9F7A39F6C2A5}"/>
              </a:ext>
            </a:extLst>
          </p:cNvPr>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ltGray">
          <a:xfrm>
            <a:off x="6400801" y="5928730"/>
            <a:ext cx="3011486" cy="412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2">
            <a:extLst>
              <a:ext uri="{FF2B5EF4-FFF2-40B4-BE49-F238E27FC236}">
                <a16:creationId xmlns:a16="http://schemas.microsoft.com/office/drawing/2014/main" xmlns="" id="{164749D4-6F77-4A02-A94F-5B225C213FB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bwMode="ltGray">
          <a:xfrm>
            <a:off x="6047469" y="1795225"/>
            <a:ext cx="660248" cy="1375421"/>
          </a:xfrm>
          <a:prstGeom prst="rect">
            <a:avLst/>
          </a:prstGeom>
          <a:noFill/>
          <a:ln>
            <a:noFill/>
          </a:ln>
        </p:spPr>
      </p:pic>
      <p:sp>
        <p:nvSpPr>
          <p:cNvPr id="13" name="TextBox 12">
            <a:extLst>
              <a:ext uri="{FF2B5EF4-FFF2-40B4-BE49-F238E27FC236}">
                <a16:creationId xmlns:a16="http://schemas.microsoft.com/office/drawing/2014/main" xmlns="" id="{47D749AD-75DB-4A1A-82BD-559F5E192FCC}"/>
              </a:ext>
            </a:extLst>
          </p:cNvPr>
          <p:cNvSpPr txBox="1"/>
          <p:nvPr userDrawn="1"/>
        </p:nvSpPr>
        <p:spPr bwMode="ltGray">
          <a:xfrm>
            <a:off x="6702243" y="1722408"/>
            <a:ext cx="2644509" cy="1288421"/>
          </a:xfrm>
          <a:prstGeom prst="rect">
            <a:avLst/>
          </a:prstGeom>
        </p:spPr>
        <p:txBody>
          <a:bodyPr vert="horz" wrap="square" lIns="72000" tIns="36000" rIns="36000" bIns="36000" rtlCol="0">
            <a:spAutoFit/>
          </a:bodyPr>
          <a:lstStyle>
            <a:lvl1pPr lvl="0" indent="0">
              <a:lnSpc>
                <a:spcPct val="105000"/>
              </a:lnSpc>
              <a:spcBef>
                <a:spcPts val="0"/>
              </a:spcBef>
              <a:spcAft>
                <a:spcPts val="1800"/>
              </a:spcAft>
              <a:buClr>
                <a:schemeClr val="tx1"/>
              </a:buClr>
              <a:buFont typeface="Arial" panose="020B0604020202020204" pitchFamily="34" charset="0"/>
              <a:buNone/>
              <a:defRPr sz="2200" b="0">
                <a:solidFill>
                  <a:schemeClr val="bg1"/>
                </a:solidFill>
                <a:latin typeface="+mj-lt"/>
              </a:defRPr>
            </a:lvl1pPr>
            <a:lvl2pPr marL="0" lvl="1" indent="0">
              <a:spcBef>
                <a:spcPts val="0"/>
              </a:spcBef>
              <a:spcAft>
                <a:spcPts val="600"/>
              </a:spcAft>
              <a:buClr>
                <a:schemeClr val="tx1"/>
              </a:buClr>
              <a:buFont typeface="Arial" panose="020B0604020202020204" pitchFamily="34" charset="0"/>
              <a:buNone/>
              <a:defRPr>
                <a:solidFill>
                  <a:schemeClr val="bg1"/>
                </a:solidFill>
              </a:defRPr>
            </a:lvl2pPr>
            <a:lvl3pPr marL="222250" lvl="2" indent="-222250">
              <a:spcBef>
                <a:spcPts val="0"/>
              </a:spcBef>
              <a:spcAft>
                <a:spcPts val="600"/>
              </a:spcAft>
              <a:buClr>
                <a:schemeClr val="bg1"/>
              </a:buClr>
              <a:buFont typeface="Calibri" panose="020F0502020204030204" pitchFamily="34" charset="0"/>
              <a:buChar char="•"/>
              <a:defRPr>
                <a:solidFill>
                  <a:schemeClr val="bg1"/>
                </a:solidFill>
              </a:defRPr>
            </a:lvl3pPr>
            <a:lvl4pPr marL="457200" lvl="3" indent="-228600">
              <a:spcBef>
                <a:spcPts val="0"/>
              </a:spcBef>
              <a:spcAft>
                <a:spcPts val="600"/>
              </a:spcAft>
              <a:buClr>
                <a:schemeClr val="bg1"/>
              </a:buClr>
              <a:buFont typeface="Calibri" panose="020F0502020204030204" pitchFamily="34" charset="0"/>
              <a:buChar char="•"/>
              <a:defRPr>
                <a:solidFill>
                  <a:schemeClr val="bg1"/>
                </a:solidFill>
              </a:defRPr>
            </a:lvl4pPr>
            <a:lvl5pPr marL="714375" lvl="4" indent="-234950">
              <a:spcBef>
                <a:spcPts val="0"/>
              </a:spcBef>
              <a:spcAft>
                <a:spcPts val="600"/>
              </a:spcAft>
              <a:buClr>
                <a:schemeClr val="bg1"/>
              </a:buClr>
              <a:buFont typeface="Calibri" panose="020F0502020204030204" pitchFamily="34" charset="0"/>
              <a:buChar char="─"/>
              <a:defRPr>
                <a:solidFill>
                  <a:schemeClr val="bg1"/>
                </a:solidFill>
              </a:defRPr>
            </a:lvl5pPr>
            <a:lvl6pPr marL="936625" indent="-214313">
              <a:spcBef>
                <a:spcPts val="0"/>
              </a:spcBef>
              <a:spcAft>
                <a:spcPts val="600"/>
              </a:spcAft>
              <a:buClr>
                <a:schemeClr val="tx2"/>
              </a:buClr>
              <a:buFont typeface="Calibri" panose="020F0502020204030204" pitchFamily="34" charset="0"/>
              <a:buChar char="−"/>
            </a:lvl6pPr>
            <a:lvl7pPr marL="0" indent="0">
              <a:spcBef>
                <a:spcPts val="0"/>
              </a:spcBef>
              <a:spcAft>
                <a:spcPts val="600"/>
              </a:spcAft>
              <a:buClr>
                <a:schemeClr val="tx1"/>
              </a:buClr>
              <a:buFontTx/>
              <a:buNone/>
            </a:lvl7pPr>
            <a:lvl8pPr marL="209550" indent="-209550">
              <a:spcBef>
                <a:spcPts val="0"/>
              </a:spcBef>
              <a:spcAft>
                <a:spcPts val="600"/>
              </a:spcAft>
              <a:buClr>
                <a:schemeClr val="tx1"/>
              </a:buClr>
              <a:buFont typeface="+mj-lt"/>
              <a:buAutoNum type="arabicPeriod"/>
              <a:defRPr baseline="0"/>
            </a:lvl8pPr>
            <a:lvl9pPr marL="473075" indent="-236538">
              <a:spcBef>
                <a:spcPts val="0"/>
              </a:spcBef>
              <a:spcAft>
                <a:spcPts val="600"/>
              </a:spcAft>
              <a:buClr>
                <a:schemeClr val="tx1"/>
              </a:buClr>
              <a:buFont typeface="+mj-lt"/>
              <a:buAutoNum type="alphaLcPeriod"/>
              <a:defRPr baseline="0"/>
            </a:lvl9pPr>
          </a:lstStyle>
          <a:p>
            <a:pPr lvl="0">
              <a:lnSpc>
                <a:spcPct val="100000"/>
              </a:lnSpc>
              <a:spcAft>
                <a:spcPts val="600"/>
              </a:spcAft>
            </a:pPr>
            <a:r>
              <a:rPr lang="en-US" sz="1000" b="1" dirty="0">
                <a:solidFill>
                  <a:schemeClr val="tx1"/>
                </a:solidFill>
              </a:rPr>
              <a:t>John Maynard Keynes (1883–1946)</a:t>
            </a:r>
          </a:p>
          <a:p>
            <a:pPr lvl="0">
              <a:lnSpc>
                <a:spcPct val="100000"/>
              </a:lnSpc>
              <a:spcAft>
                <a:spcPts val="600"/>
              </a:spcAft>
            </a:pPr>
            <a:r>
              <a:rPr lang="en-US" sz="800" dirty="0">
                <a:solidFill>
                  <a:schemeClr val="tx1"/>
                </a:solidFill>
              </a:rPr>
              <a:t>John Maynard Keynes was a British economist who revolutionised the theory and practice of macroeconomics, reformed economics and had a profound influence on economic policy. This illustration represents the Keynesian model which shows that in a monetary economy it is possible to have periods of high unemployment unless governments use active monetary and fiscal policy to stimulate aggregate demand.</a:t>
            </a:r>
          </a:p>
        </p:txBody>
      </p:sp>
    </p:spTree>
    <p:extLst>
      <p:ext uri="{BB962C8B-B14F-4D97-AF65-F5344CB8AC3E}">
        <p14:creationId xmlns:p14="http://schemas.microsoft.com/office/powerpoint/2010/main" val="2934105304"/>
      </p:ext>
    </p:extLst>
  </p:cSld>
  <p:clrMapOvr>
    <a:masterClrMapping/>
  </p:clrMapOvr>
  <p:extLst mod="1">
    <p:ext uri="{DCECCB84-F9BA-43D5-87BE-67443E8EF086}">
      <p15:sldGuideLst xmlns:p15="http://schemas.microsoft.com/office/powerpoint/2012/main">
        <p15:guide id="1" pos="1079">
          <p15:clr>
            <a:srgbClr val="FBAE40"/>
          </p15:clr>
        </p15:guide>
        <p15:guide id="2" pos="592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_1">
    <p:bg bwMode="gray">
      <p:bgPr>
        <a:solidFill>
          <a:schemeClr val="bg1"/>
        </a:solidFill>
        <a:effectLst/>
      </p:bgPr>
    </p:bg>
    <p:spTree>
      <p:nvGrpSpPr>
        <p:cNvPr id="1" name=""/>
        <p:cNvGrpSpPr/>
        <p:nvPr/>
      </p:nvGrpSpPr>
      <p:grpSpPr>
        <a:xfrm>
          <a:off x="0" y="0"/>
          <a:ext cx="0" cy="0"/>
          <a:chOff x="0" y="0"/>
          <a:chExt cx="0" cy="0"/>
        </a:xfrm>
      </p:grpSpPr>
      <p:sp>
        <p:nvSpPr>
          <p:cNvPr id="9" name="Rectangle 3"/>
          <p:cNvSpPr/>
          <p:nvPr userDrawn="1"/>
        </p:nvSpPr>
        <p:spPr bwMode="ltGray">
          <a:xfrm>
            <a:off x="533400" y="2"/>
            <a:ext cx="9371400" cy="5958126"/>
          </a:xfrm>
          <a:custGeom>
            <a:avLst/>
            <a:gdLst>
              <a:gd name="connsiteX0" fmla="*/ 0 w 9371400"/>
              <a:gd name="connsiteY0" fmla="*/ 0 h 5980114"/>
              <a:gd name="connsiteX1" fmla="*/ 9371400 w 9371400"/>
              <a:gd name="connsiteY1" fmla="*/ 0 h 5980114"/>
              <a:gd name="connsiteX2" fmla="*/ 9371400 w 9371400"/>
              <a:gd name="connsiteY2" fmla="*/ 5980114 h 5980114"/>
              <a:gd name="connsiteX3" fmla="*/ 0 w 9371400"/>
              <a:gd name="connsiteY3" fmla="*/ 5980114 h 5980114"/>
              <a:gd name="connsiteX4" fmla="*/ 0 w 9371400"/>
              <a:gd name="connsiteY4" fmla="*/ 0 h 5980114"/>
              <a:gd name="connsiteX0" fmla="*/ 0 w 9371400"/>
              <a:gd name="connsiteY0" fmla="*/ 0 h 5980114"/>
              <a:gd name="connsiteX1" fmla="*/ 9371400 w 9371400"/>
              <a:gd name="connsiteY1" fmla="*/ 0 h 5980114"/>
              <a:gd name="connsiteX2" fmla="*/ 9371400 w 9371400"/>
              <a:gd name="connsiteY2" fmla="*/ 59801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980114"/>
              <a:gd name="connsiteX1" fmla="*/ 9371400 w 9371400"/>
              <a:gd name="connsiteY1" fmla="*/ 0 h 5980114"/>
              <a:gd name="connsiteX2" fmla="*/ 9371400 w 9371400"/>
              <a:gd name="connsiteY2" fmla="*/ 3503614 h 5980114"/>
              <a:gd name="connsiteX3" fmla="*/ 1990725 w 9371400"/>
              <a:gd name="connsiteY3" fmla="*/ 5591176 h 5980114"/>
              <a:gd name="connsiteX4" fmla="*/ 0 w 9371400"/>
              <a:gd name="connsiteY4" fmla="*/ 5980114 h 5980114"/>
              <a:gd name="connsiteX5" fmla="*/ 0 w 9371400"/>
              <a:gd name="connsiteY5" fmla="*/ 0 h 5980114"/>
              <a:gd name="connsiteX0" fmla="*/ 0 w 9371400"/>
              <a:gd name="connsiteY0" fmla="*/ 0 h 5591176"/>
              <a:gd name="connsiteX1" fmla="*/ 9371400 w 9371400"/>
              <a:gd name="connsiteY1" fmla="*/ 0 h 5591176"/>
              <a:gd name="connsiteX2" fmla="*/ 9371400 w 9371400"/>
              <a:gd name="connsiteY2" fmla="*/ 3503614 h 5591176"/>
              <a:gd name="connsiteX3" fmla="*/ 1990725 w 9371400"/>
              <a:gd name="connsiteY3" fmla="*/ 5591176 h 5591176"/>
              <a:gd name="connsiteX4" fmla="*/ 0 w 9371400"/>
              <a:gd name="connsiteY4" fmla="*/ 5370514 h 5591176"/>
              <a:gd name="connsiteX5" fmla="*/ 0 w 9371400"/>
              <a:gd name="connsiteY5" fmla="*/ 0 h 5591176"/>
              <a:gd name="connsiteX0" fmla="*/ 0 w 9371400"/>
              <a:gd name="connsiteY0" fmla="*/ 0 h 5924551"/>
              <a:gd name="connsiteX1" fmla="*/ 9371400 w 9371400"/>
              <a:gd name="connsiteY1" fmla="*/ 0 h 5924551"/>
              <a:gd name="connsiteX2" fmla="*/ 9371400 w 9371400"/>
              <a:gd name="connsiteY2" fmla="*/ 3503614 h 5924551"/>
              <a:gd name="connsiteX3" fmla="*/ 400050 w 9371400"/>
              <a:gd name="connsiteY3" fmla="*/ 5924551 h 5924551"/>
              <a:gd name="connsiteX4" fmla="*/ 0 w 9371400"/>
              <a:gd name="connsiteY4" fmla="*/ 5370514 h 5924551"/>
              <a:gd name="connsiteX5" fmla="*/ 0 w 9371400"/>
              <a:gd name="connsiteY5" fmla="*/ 0 h 5924551"/>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939084"/>
              <a:gd name="connsiteX1" fmla="*/ 9371400 w 9371400"/>
              <a:gd name="connsiteY1" fmla="*/ 0 h 5939084"/>
              <a:gd name="connsiteX2" fmla="*/ 9371400 w 9371400"/>
              <a:gd name="connsiteY2" fmla="*/ 3503614 h 5939084"/>
              <a:gd name="connsiteX3" fmla="*/ 400050 w 9371400"/>
              <a:gd name="connsiteY3" fmla="*/ 5924551 h 5939084"/>
              <a:gd name="connsiteX4" fmla="*/ 0 w 9371400"/>
              <a:gd name="connsiteY4" fmla="*/ 5370514 h 5939084"/>
              <a:gd name="connsiteX5" fmla="*/ 0 w 9371400"/>
              <a:gd name="connsiteY5" fmla="*/ 0 h 5939084"/>
              <a:gd name="connsiteX0" fmla="*/ 0 w 9371400"/>
              <a:gd name="connsiteY0" fmla="*/ 0 h 5833330"/>
              <a:gd name="connsiteX1" fmla="*/ 9371400 w 9371400"/>
              <a:gd name="connsiteY1" fmla="*/ 0 h 5833330"/>
              <a:gd name="connsiteX2" fmla="*/ 9371400 w 9371400"/>
              <a:gd name="connsiteY2" fmla="*/ 3503614 h 5833330"/>
              <a:gd name="connsiteX3" fmla="*/ 240030 w 9371400"/>
              <a:gd name="connsiteY3" fmla="*/ 5817871 h 5833330"/>
              <a:gd name="connsiteX4" fmla="*/ 0 w 9371400"/>
              <a:gd name="connsiteY4" fmla="*/ 5370514 h 5833330"/>
              <a:gd name="connsiteX5" fmla="*/ 0 w 9371400"/>
              <a:gd name="connsiteY5" fmla="*/ 0 h 5833330"/>
              <a:gd name="connsiteX0" fmla="*/ 0 w 9371400"/>
              <a:gd name="connsiteY0" fmla="*/ 0 h 5826460"/>
              <a:gd name="connsiteX1" fmla="*/ 9371400 w 9371400"/>
              <a:gd name="connsiteY1" fmla="*/ 0 h 5826460"/>
              <a:gd name="connsiteX2" fmla="*/ 9371400 w 9371400"/>
              <a:gd name="connsiteY2" fmla="*/ 3503614 h 5826460"/>
              <a:gd name="connsiteX3" fmla="*/ 240030 w 9371400"/>
              <a:gd name="connsiteY3" fmla="*/ 5817871 h 5826460"/>
              <a:gd name="connsiteX4" fmla="*/ 0 w 9371400"/>
              <a:gd name="connsiteY4" fmla="*/ 5370514 h 5826460"/>
              <a:gd name="connsiteX5" fmla="*/ 0 w 9371400"/>
              <a:gd name="connsiteY5" fmla="*/ 0 h 5826460"/>
              <a:gd name="connsiteX0" fmla="*/ 0 w 9371400"/>
              <a:gd name="connsiteY0" fmla="*/ 0 h 5894683"/>
              <a:gd name="connsiteX1" fmla="*/ 9371400 w 9371400"/>
              <a:gd name="connsiteY1" fmla="*/ 0 h 5894683"/>
              <a:gd name="connsiteX2" fmla="*/ 9371400 w 9371400"/>
              <a:gd name="connsiteY2" fmla="*/ 3503614 h 5894683"/>
              <a:gd name="connsiteX3" fmla="*/ 323850 w 9371400"/>
              <a:gd name="connsiteY3" fmla="*/ 5886451 h 5894683"/>
              <a:gd name="connsiteX4" fmla="*/ 0 w 9371400"/>
              <a:gd name="connsiteY4" fmla="*/ 5370514 h 5894683"/>
              <a:gd name="connsiteX5" fmla="*/ 0 w 9371400"/>
              <a:gd name="connsiteY5" fmla="*/ 0 h 5894683"/>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38392"/>
              <a:gd name="connsiteX1" fmla="*/ 9371400 w 9371400"/>
              <a:gd name="connsiteY1" fmla="*/ 0 h 5938392"/>
              <a:gd name="connsiteX2" fmla="*/ 9371400 w 9371400"/>
              <a:gd name="connsiteY2" fmla="*/ 3503614 h 5938392"/>
              <a:gd name="connsiteX3" fmla="*/ 323850 w 9371400"/>
              <a:gd name="connsiteY3" fmla="*/ 5886451 h 5938392"/>
              <a:gd name="connsiteX4" fmla="*/ 0 w 9371400"/>
              <a:gd name="connsiteY4" fmla="*/ 5370514 h 5938392"/>
              <a:gd name="connsiteX5" fmla="*/ 0 w 9371400"/>
              <a:gd name="connsiteY5" fmla="*/ 0 h 5938392"/>
              <a:gd name="connsiteX0" fmla="*/ 0 w 9371400"/>
              <a:gd name="connsiteY0" fmla="*/ 0 h 5903101"/>
              <a:gd name="connsiteX1" fmla="*/ 9371400 w 9371400"/>
              <a:gd name="connsiteY1" fmla="*/ 0 h 5903101"/>
              <a:gd name="connsiteX2" fmla="*/ 9371400 w 9371400"/>
              <a:gd name="connsiteY2" fmla="*/ 3503614 h 5903101"/>
              <a:gd name="connsiteX3" fmla="*/ 323850 w 9371400"/>
              <a:gd name="connsiteY3" fmla="*/ 5886451 h 5903101"/>
              <a:gd name="connsiteX4" fmla="*/ 0 w 9371400"/>
              <a:gd name="connsiteY4" fmla="*/ 5370514 h 5903101"/>
              <a:gd name="connsiteX5" fmla="*/ 0 w 9371400"/>
              <a:gd name="connsiteY5" fmla="*/ 0 h 5903101"/>
              <a:gd name="connsiteX0" fmla="*/ 0 w 9371400"/>
              <a:gd name="connsiteY0" fmla="*/ 0 h 5956929"/>
              <a:gd name="connsiteX1" fmla="*/ 9371400 w 9371400"/>
              <a:gd name="connsiteY1" fmla="*/ 0 h 5956929"/>
              <a:gd name="connsiteX2" fmla="*/ 9371400 w 9371400"/>
              <a:gd name="connsiteY2" fmla="*/ 3503614 h 5956929"/>
              <a:gd name="connsiteX3" fmla="*/ 323850 w 9371400"/>
              <a:gd name="connsiteY3" fmla="*/ 5886451 h 5956929"/>
              <a:gd name="connsiteX4" fmla="*/ 0 w 9371400"/>
              <a:gd name="connsiteY4" fmla="*/ 5370514 h 5956929"/>
              <a:gd name="connsiteX5" fmla="*/ 0 w 9371400"/>
              <a:gd name="connsiteY5" fmla="*/ 0 h 5956929"/>
              <a:gd name="connsiteX0" fmla="*/ 0 w 9371400"/>
              <a:gd name="connsiteY0" fmla="*/ 0 h 5944045"/>
              <a:gd name="connsiteX1" fmla="*/ 9371400 w 9371400"/>
              <a:gd name="connsiteY1" fmla="*/ 0 h 5944045"/>
              <a:gd name="connsiteX2" fmla="*/ 9371400 w 9371400"/>
              <a:gd name="connsiteY2" fmla="*/ 3503614 h 5944045"/>
              <a:gd name="connsiteX3" fmla="*/ 323850 w 9371400"/>
              <a:gd name="connsiteY3" fmla="*/ 5886451 h 5944045"/>
              <a:gd name="connsiteX4" fmla="*/ 0 w 9371400"/>
              <a:gd name="connsiteY4" fmla="*/ 5370514 h 5944045"/>
              <a:gd name="connsiteX5" fmla="*/ 0 w 9371400"/>
              <a:gd name="connsiteY5" fmla="*/ 0 h 5944045"/>
              <a:gd name="connsiteX0" fmla="*/ 0 w 9371400"/>
              <a:gd name="connsiteY0" fmla="*/ 0 h 5869516"/>
              <a:gd name="connsiteX1" fmla="*/ 9371400 w 9371400"/>
              <a:gd name="connsiteY1" fmla="*/ 0 h 5869516"/>
              <a:gd name="connsiteX2" fmla="*/ 9371400 w 9371400"/>
              <a:gd name="connsiteY2" fmla="*/ 3503614 h 5869516"/>
              <a:gd name="connsiteX3" fmla="*/ 234950 w 9371400"/>
              <a:gd name="connsiteY3" fmla="*/ 5810251 h 5869516"/>
              <a:gd name="connsiteX4" fmla="*/ 0 w 9371400"/>
              <a:gd name="connsiteY4" fmla="*/ 5370514 h 5869516"/>
              <a:gd name="connsiteX5" fmla="*/ 0 w 9371400"/>
              <a:gd name="connsiteY5" fmla="*/ 0 h 5869516"/>
              <a:gd name="connsiteX0" fmla="*/ 0 w 9371400"/>
              <a:gd name="connsiteY0" fmla="*/ 0 h 5839290"/>
              <a:gd name="connsiteX1" fmla="*/ 9371400 w 9371400"/>
              <a:gd name="connsiteY1" fmla="*/ 0 h 5839290"/>
              <a:gd name="connsiteX2" fmla="*/ 9371400 w 9371400"/>
              <a:gd name="connsiteY2" fmla="*/ 3503614 h 5839290"/>
              <a:gd name="connsiteX3" fmla="*/ 234950 w 9371400"/>
              <a:gd name="connsiteY3" fmla="*/ 5810251 h 5839290"/>
              <a:gd name="connsiteX4" fmla="*/ 0 w 9371400"/>
              <a:gd name="connsiteY4" fmla="*/ 5370514 h 5839290"/>
              <a:gd name="connsiteX5" fmla="*/ 0 w 9371400"/>
              <a:gd name="connsiteY5" fmla="*/ 0 h 5839290"/>
              <a:gd name="connsiteX0" fmla="*/ 81267 w 9452667"/>
              <a:gd name="connsiteY0" fmla="*/ 0 h 6117953"/>
              <a:gd name="connsiteX1" fmla="*/ 9452667 w 9452667"/>
              <a:gd name="connsiteY1" fmla="*/ 0 h 6117953"/>
              <a:gd name="connsiteX2" fmla="*/ 9452667 w 9452667"/>
              <a:gd name="connsiteY2" fmla="*/ 3503614 h 6117953"/>
              <a:gd name="connsiteX3" fmla="*/ 790880 w 9452667"/>
              <a:gd name="connsiteY3" fmla="*/ 5962650 h 6117953"/>
              <a:gd name="connsiteX4" fmla="*/ 316217 w 9452667"/>
              <a:gd name="connsiteY4" fmla="*/ 5810251 h 6117953"/>
              <a:gd name="connsiteX5" fmla="*/ 81267 w 9452667"/>
              <a:gd name="connsiteY5" fmla="*/ 5370514 h 6117953"/>
              <a:gd name="connsiteX6" fmla="*/ 81267 w 9452667"/>
              <a:gd name="connsiteY6" fmla="*/ 0 h 6117953"/>
              <a:gd name="connsiteX0" fmla="*/ 0 w 9371400"/>
              <a:gd name="connsiteY0" fmla="*/ 0 h 5965597"/>
              <a:gd name="connsiteX1" fmla="*/ 9371400 w 9371400"/>
              <a:gd name="connsiteY1" fmla="*/ 0 h 5965597"/>
              <a:gd name="connsiteX2" fmla="*/ 9371400 w 9371400"/>
              <a:gd name="connsiteY2" fmla="*/ 3503614 h 5965597"/>
              <a:gd name="connsiteX3" fmla="*/ 709613 w 9371400"/>
              <a:gd name="connsiteY3" fmla="*/ 5962650 h 5965597"/>
              <a:gd name="connsiteX4" fmla="*/ 234950 w 9371400"/>
              <a:gd name="connsiteY4" fmla="*/ 5810251 h 5965597"/>
              <a:gd name="connsiteX5" fmla="*/ 0 w 9371400"/>
              <a:gd name="connsiteY5" fmla="*/ 5370514 h 5965597"/>
              <a:gd name="connsiteX6" fmla="*/ 0 w 9371400"/>
              <a:gd name="connsiteY6" fmla="*/ 0 h 5965597"/>
              <a:gd name="connsiteX0" fmla="*/ 0 w 9371400"/>
              <a:gd name="connsiteY0" fmla="*/ 0 h 5965024"/>
              <a:gd name="connsiteX1" fmla="*/ 9371400 w 9371400"/>
              <a:gd name="connsiteY1" fmla="*/ 0 h 5965024"/>
              <a:gd name="connsiteX2" fmla="*/ 9371400 w 9371400"/>
              <a:gd name="connsiteY2" fmla="*/ 3503614 h 5965024"/>
              <a:gd name="connsiteX3" fmla="*/ 709613 w 9371400"/>
              <a:gd name="connsiteY3" fmla="*/ 5962650 h 5965024"/>
              <a:gd name="connsiteX4" fmla="*/ 203200 w 9371400"/>
              <a:gd name="connsiteY4" fmla="*/ 5788026 h 5965024"/>
              <a:gd name="connsiteX5" fmla="*/ 0 w 9371400"/>
              <a:gd name="connsiteY5" fmla="*/ 5370514 h 5965024"/>
              <a:gd name="connsiteX6" fmla="*/ 0 w 9371400"/>
              <a:gd name="connsiteY6" fmla="*/ 0 h 5965024"/>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65393"/>
              <a:gd name="connsiteX1" fmla="*/ 9371400 w 9371400"/>
              <a:gd name="connsiteY1" fmla="*/ 0 h 5965393"/>
              <a:gd name="connsiteX2" fmla="*/ 9371400 w 9371400"/>
              <a:gd name="connsiteY2" fmla="*/ 3503614 h 5965393"/>
              <a:gd name="connsiteX3" fmla="*/ 709613 w 9371400"/>
              <a:gd name="connsiteY3" fmla="*/ 5962650 h 5965393"/>
              <a:gd name="connsiteX4" fmla="*/ 203200 w 9371400"/>
              <a:gd name="connsiteY4" fmla="*/ 5788026 h 5965393"/>
              <a:gd name="connsiteX5" fmla="*/ 0 w 9371400"/>
              <a:gd name="connsiteY5" fmla="*/ 5370514 h 5965393"/>
              <a:gd name="connsiteX6" fmla="*/ 0 w 9371400"/>
              <a:gd name="connsiteY6" fmla="*/ 0 h 5965393"/>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791"/>
              <a:gd name="connsiteX1" fmla="*/ 9371400 w 9371400"/>
              <a:gd name="connsiteY1" fmla="*/ 0 h 5958791"/>
              <a:gd name="connsiteX2" fmla="*/ 9371400 w 9371400"/>
              <a:gd name="connsiteY2" fmla="*/ 3503614 h 5958791"/>
              <a:gd name="connsiteX3" fmla="*/ 642938 w 9371400"/>
              <a:gd name="connsiteY3" fmla="*/ 5956300 h 5958791"/>
              <a:gd name="connsiteX4" fmla="*/ 203200 w 9371400"/>
              <a:gd name="connsiteY4" fmla="*/ 5788026 h 5958791"/>
              <a:gd name="connsiteX5" fmla="*/ 0 w 9371400"/>
              <a:gd name="connsiteY5" fmla="*/ 5370514 h 5958791"/>
              <a:gd name="connsiteX6" fmla="*/ 0 w 9371400"/>
              <a:gd name="connsiteY6" fmla="*/ 0 h 5958791"/>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58980"/>
              <a:gd name="connsiteX1" fmla="*/ 9371400 w 9371400"/>
              <a:gd name="connsiteY1" fmla="*/ 0 h 5958980"/>
              <a:gd name="connsiteX2" fmla="*/ 9371400 w 9371400"/>
              <a:gd name="connsiteY2" fmla="*/ 3503614 h 5958980"/>
              <a:gd name="connsiteX3" fmla="*/ 642938 w 9371400"/>
              <a:gd name="connsiteY3" fmla="*/ 5956300 h 5958980"/>
              <a:gd name="connsiteX4" fmla="*/ 203200 w 9371400"/>
              <a:gd name="connsiteY4" fmla="*/ 5788026 h 5958980"/>
              <a:gd name="connsiteX5" fmla="*/ 0 w 9371400"/>
              <a:gd name="connsiteY5" fmla="*/ 5322889 h 5958980"/>
              <a:gd name="connsiteX6" fmla="*/ 0 w 9371400"/>
              <a:gd name="connsiteY6" fmla="*/ 0 h 5958980"/>
              <a:gd name="connsiteX0" fmla="*/ 0 w 9371400"/>
              <a:gd name="connsiteY0" fmla="*/ 0 h 5949683"/>
              <a:gd name="connsiteX1" fmla="*/ 9371400 w 9371400"/>
              <a:gd name="connsiteY1" fmla="*/ 0 h 5949683"/>
              <a:gd name="connsiteX2" fmla="*/ 9371400 w 9371400"/>
              <a:gd name="connsiteY2" fmla="*/ 3503614 h 5949683"/>
              <a:gd name="connsiteX3" fmla="*/ 735807 w 9371400"/>
              <a:gd name="connsiteY3" fmla="*/ 5946775 h 5949683"/>
              <a:gd name="connsiteX4" fmla="*/ 203200 w 9371400"/>
              <a:gd name="connsiteY4" fmla="*/ 5788026 h 5949683"/>
              <a:gd name="connsiteX5" fmla="*/ 0 w 9371400"/>
              <a:gd name="connsiteY5" fmla="*/ 5322889 h 5949683"/>
              <a:gd name="connsiteX6" fmla="*/ 0 w 9371400"/>
              <a:gd name="connsiteY6" fmla="*/ 0 h 5949683"/>
              <a:gd name="connsiteX0" fmla="*/ 0 w 9371400"/>
              <a:gd name="connsiteY0" fmla="*/ 0 h 5954326"/>
              <a:gd name="connsiteX1" fmla="*/ 9371400 w 9371400"/>
              <a:gd name="connsiteY1" fmla="*/ 0 h 5954326"/>
              <a:gd name="connsiteX2" fmla="*/ 9371400 w 9371400"/>
              <a:gd name="connsiteY2" fmla="*/ 3503614 h 5954326"/>
              <a:gd name="connsiteX3" fmla="*/ 638176 w 9371400"/>
              <a:gd name="connsiteY3" fmla="*/ 5951537 h 5954326"/>
              <a:gd name="connsiteX4" fmla="*/ 203200 w 9371400"/>
              <a:gd name="connsiteY4" fmla="*/ 5788026 h 5954326"/>
              <a:gd name="connsiteX5" fmla="*/ 0 w 9371400"/>
              <a:gd name="connsiteY5" fmla="*/ 5322889 h 5954326"/>
              <a:gd name="connsiteX6" fmla="*/ 0 w 9371400"/>
              <a:gd name="connsiteY6" fmla="*/ 0 h 5954326"/>
              <a:gd name="connsiteX0" fmla="*/ 0 w 9371400"/>
              <a:gd name="connsiteY0" fmla="*/ 0 h 5960329"/>
              <a:gd name="connsiteX1" fmla="*/ 9371400 w 9371400"/>
              <a:gd name="connsiteY1" fmla="*/ 0 h 5960329"/>
              <a:gd name="connsiteX2" fmla="*/ 9371400 w 9371400"/>
              <a:gd name="connsiteY2" fmla="*/ 3503614 h 5960329"/>
              <a:gd name="connsiteX3" fmla="*/ 773906 w 9371400"/>
              <a:gd name="connsiteY3" fmla="*/ 5936455 h 5960329"/>
              <a:gd name="connsiteX4" fmla="*/ 638176 w 9371400"/>
              <a:gd name="connsiteY4" fmla="*/ 5951537 h 5960329"/>
              <a:gd name="connsiteX5" fmla="*/ 203200 w 9371400"/>
              <a:gd name="connsiteY5" fmla="*/ 5788026 h 5960329"/>
              <a:gd name="connsiteX6" fmla="*/ 0 w 9371400"/>
              <a:gd name="connsiteY6" fmla="*/ 5322889 h 5960329"/>
              <a:gd name="connsiteX7" fmla="*/ 0 w 9371400"/>
              <a:gd name="connsiteY7" fmla="*/ 0 h 5960329"/>
              <a:gd name="connsiteX0" fmla="*/ 0 w 9371400"/>
              <a:gd name="connsiteY0" fmla="*/ 0 h 5962334"/>
              <a:gd name="connsiteX1" fmla="*/ 9371400 w 9371400"/>
              <a:gd name="connsiteY1" fmla="*/ 0 h 5962334"/>
              <a:gd name="connsiteX2" fmla="*/ 9371400 w 9371400"/>
              <a:gd name="connsiteY2" fmla="*/ 3503614 h 5962334"/>
              <a:gd name="connsiteX3" fmla="*/ 773906 w 9371400"/>
              <a:gd name="connsiteY3" fmla="*/ 5936455 h 5962334"/>
              <a:gd name="connsiteX4" fmla="*/ 535782 w 9371400"/>
              <a:gd name="connsiteY4" fmla="*/ 5953918 h 5962334"/>
              <a:gd name="connsiteX5" fmla="*/ 203200 w 9371400"/>
              <a:gd name="connsiteY5" fmla="*/ 5788026 h 5962334"/>
              <a:gd name="connsiteX6" fmla="*/ 0 w 9371400"/>
              <a:gd name="connsiteY6" fmla="*/ 5322889 h 5962334"/>
              <a:gd name="connsiteX7" fmla="*/ 0 w 9371400"/>
              <a:gd name="connsiteY7" fmla="*/ 0 h 5962334"/>
              <a:gd name="connsiteX0" fmla="*/ 0 w 9371400"/>
              <a:gd name="connsiteY0" fmla="*/ 0 h 5960358"/>
              <a:gd name="connsiteX1" fmla="*/ 9371400 w 9371400"/>
              <a:gd name="connsiteY1" fmla="*/ 0 h 5960358"/>
              <a:gd name="connsiteX2" fmla="*/ 9371400 w 9371400"/>
              <a:gd name="connsiteY2" fmla="*/ 3503614 h 5960358"/>
              <a:gd name="connsiteX3" fmla="*/ 773906 w 9371400"/>
              <a:gd name="connsiteY3" fmla="*/ 5936455 h 5960358"/>
              <a:gd name="connsiteX4" fmla="*/ 535782 w 9371400"/>
              <a:gd name="connsiteY4" fmla="*/ 5953918 h 5960358"/>
              <a:gd name="connsiteX5" fmla="*/ 203200 w 9371400"/>
              <a:gd name="connsiteY5" fmla="*/ 5788026 h 5960358"/>
              <a:gd name="connsiteX6" fmla="*/ 0 w 9371400"/>
              <a:gd name="connsiteY6" fmla="*/ 5322889 h 5960358"/>
              <a:gd name="connsiteX7" fmla="*/ 0 w 9371400"/>
              <a:gd name="connsiteY7" fmla="*/ 0 h 5960358"/>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62002"/>
              <a:gd name="connsiteX1" fmla="*/ 9371400 w 9371400"/>
              <a:gd name="connsiteY1" fmla="*/ 0 h 5962002"/>
              <a:gd name="connsiteX2" fmla="*/ 9371400 w 9371400"/>
              <a:gd name="connsiteY2" fmla="*/ 3503614 h 5962002"/>
              <a:gd name="connsiteX3" fmla="*/ 773906 w 9371400"/>
              <a:gd name="connsiteY3" fmla="*/ 5936455 h 5962002"/>
              <a:gd name="connsiteX4" fmla="*/ 535782 w 9371400"/>
              <a:gd name="connsiteY4" fmla="*/ 5953918 h 5962002"/>
              <a:gd name="connsiteX5" fmla="*/ 198438 w 9371400"/>
              <a:gd name="connsiteY5" fmla="*/ 5792788 h 5962002"/>
              <a:gd name="connsiteX6" fmla="*/ 0 w 9371400"/>
              <a:gd name="connsiteY6" fmla="*/ 5322889 h 5962002"/>
              <a:gd name="connsiteX7" fmla="*/ 0 w 9371400"/>
              <a:gd name="connsiteY7" fmla="*/ 0 h 5962002"/>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 name="connsiteX0" fmla="*/ 0 w 9371400"/>
              <a:gd name="connsiteY0" fmla="*/ 0 h 5958126"/>
              <a:gd name="connsiteX1" fmla="*/ 9371400 w 9371400"/>
              <a:gd name="connsiteY1" fmla="*/ 0 h 5958126"/>
              <a:gd name="connsiteX2" fmla="*/ 9371400 w 9371400"/>
              <a:gd name="connsiteY2" fmla="*/ 3503614 h 5958126"/>
              <a:gd name="connsiteX3" fmla="*/ 773906 w 9371400"/>
              <a:gd name="connsiteY3" fmla="*/ 5936455 h 5958126"/>
              <a:gd name="connsiteX4" fmla="*/ 535782 w 9371400"/>
              <a:gd name="connsiteY4" fmla="*/ 5953918 h 5958126"/>
              <a:gd name="connsiteX5" fmla="*/ 198438 w 9371400"/>
              <a:gd name="connsiteY5" fmla="*/ 5792788 h 5958126"/>
              <a:gd name="connsiteX6" fmla="*/ 0 w 9371400"/>
              <a:gd name="connsiteY6" fmla="*/ 5322889 h 5958126"/>
              <a:gd name="connsiteX7" fmla="*/ 0 w 9371400"/>
              <a:gd name="connsiteY7" fmla="*/ 0 h 595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400" h="5958126">
                <a:moveTo>
                  <a:pt x="0" y="0"/>
                </a:moveTo>
                <a:lnTo>
                  <a:pt x="9371400" y="0"/>
                </a:lnTo>
                <a:lnTo>
                  <a:pt x="9371400" y="3503614"/>
                </a:lnTo>
                <a:lnTo>
                  <a:pt x="773906" y="5936455"/>
                </a:lnTo>
                <a:cubicBezTo>
                  <a:pt x="728663" y="5941482"/>
                  <a:pt x="626930" y="5968337"/>
                  <a:pt x="535782" y="5953918"/>
                </a:cubicBezTo>
                <a:cubicBezTo>
                  <a:pt x="444634" y="5939499"/>
                  <a:pt x="337741" y="5917010"/>
                  <a:pt x="198438" y="5792788"/>
                </a:cubicBezTo>
                <a:cubicBezTo>
                  <a:pt x="59135" y="5668566"/>
                  <a:pt x="3016" y="5434703"/>
                  <a:pt x="0" y="5322889"/>
                </a:cubicBezTo>
                <a:lnTo>
                  <a:pt x="0" y="0"/>
                </a:lnTo>
                <a:close/>
              </a:path>
            </a:pathLst>
          </a:cu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1"/>
          <a:lstStyle/>
          <a:p>
            <a:pPr algn="ctr"/>
            <a:endParaRPr lang="en-GB" sz="1400" dirty="0"/>
          </a:p>
        </p:txBody>
      </p:sp>
      <p:sp>
        <p:nvSpPr>
          <p:cNvPr id="13" name="Text Placeholder 10"/>
          <p:cNvSpPr>
            <a:spLocks noGrp="1"/>
          </p:cNvSpPr>
          <p:nvPr>
            <p:ph type="body" sz="quarter" idx="14" hasCustomPrompt="1"/>
          </p:nvPr>
        </p:nvSpPr>
        <p:spPr bwMode="ltGray">
          <a:xfrm>
            <a:off x="825500" y="4570413"/>
            <a:ext cx="2260600" cy="819150"/>
          </a:xfrm>
        </p:spPr>
        <p:txBody>
          <a:bodyPr wrap="square" anchor="b">
            <a:noAutofit/>
          </a:bodyPr>
          <a:lstStyle>
            <a:lvl1pPr>
              <a:lnSpc>
                <a:spcPct val="100000"/>
              </a:lnSpc>
              <a:spcAft>
                <a:spcPts val="0"/>
              </a:spcAft>
              <a:defRPr sz="10800" b="1">
                <a:solidFill>
                  <a:schemeClr val="bg1"/>
                </a:solidFill>
              </a:defRPr>
            </a:lvl1pPr>
          </a:lstStyle>
          <a:p>
            <a:pPr lvl="0"/>
            <a:r>
              <a:rPr lang="en-US"/>
              <a:t>#.#</a:t>
            </a:r>
            <a:endParaRPr lang="en-US" dirty="0"/>
          </a:p>
        </p:txBody>
      </p:sp>
      <p:sp>
        <p:nvSpPr>
          <p:cNvPr id="1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chemeClr val="bg1"/>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sp>
        <p:nvSpPr>
          <p:cNvPr id="5" name="Title 4"/>
          <p:cNvSpPr>
            <a:spLocks noGrp="1"/>
          </p:cNvSpPr>
          <p:nvPr>
            <p:ph type="title"/>
          </p:nvPr>
        </p:nvSpPr>
        <p:spPr bwMode="ltGray"/>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217451780"/>
      </p:ext>
    </p:extLst>
  </p:cSld>
  <p:clrMapOvr>
    <a:masterClrMapping/>
  </p:clrMapOvr>
  <p:extLst mod="1">
    <p:ext uri="{DCECCB84-F9BA-43D5-87BE-67443E8EF086}">
      <p15:sldGuideLst xmlns:p15="http://schemas.microsoft.com/office/powerpoint/2012/main">
        <p15:guide id="1" pos="1079" userDrawn="1">
          <p15:clr>
            <a:srgbClr val="FBAE40"/>
          </p15:clr>
        </p15:guide>
      </p15:sldGuideLst>
    </p:ext>
  </p:extLst>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tags" Target="../tags/tag1.xml"/><Relationship Id="rId19"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ltGray">
          <a:xfrm>
            <a:off x="825501" y="538163"/>
            <a:ext cx="8239126" cy="370558"/>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bwMode="ltGray">
          <a:xfrm>
            <a:off x="825500" y="1436688"/>
            <a:ext cx="8239125" cy="1692771"/>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6"/>
          <p:cNvSpPr>
            <a:spLocks/>
          </p:cNvSpPr>
          <p:nvPr userDrawn="1"/>
        </p:nvSpPr>
        <p:spPr bwMode="ltGray">
          <a:xfrm>
            <a:off x="9064624" y="-1"/>
            <a:ext cx="347663" cy="482041"/>
          </a:xfrm>
          <a:custGeom>
            <a:avLst/>
            <a:gdLst>
              <a:gd name="T0" fmla="*/ 0 w 120"/>
              <a:gd name="T1" fmla="*/ 0 h 164"/>
              <a:gd name="T2" fmla="*/ 120 w 120"/>
              <a:gd name="T3" fmla="*/ 0 h 164"/>
              <a:gd name="T4" fmla="*/ 120 w 120"/>
              <a:gd name="T5" fmla="*/ 138 h 164"/>
              <a:gd name="T6" fmla="*/ 13 w 120"/>
              <a:gd name="T7" fmla="*/ 164 h 164"/>
              <a:gd name="T8" fmla="*/ 10 w 120"/>
              <a:gd name="T9" fmla="*/ 164 h 164"/>
              <a:gd name="T10" fmla="*/ 0 w 120"/>
              <a:gd name="T11" fmla="*/ 156 h 164"/>
              <a:gd name="T12" fmla="*/ 0 w 120"/>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20" h="164">
                <a:moveTo>
                  <a:pt x="0" y="0"/>
                </a:moveTo>
                <a:cubicBezTo>
                  <a:pt x="120" y="0"/>
                  <a:pt x="120" y="0"/>
                  <a:pt x="120" y="0"/>
                </a:cubicBezTo>
                <a:cubicBezTo>
                  <a:pt x="120" y="138"/>
                  <a:pt x="120" y="138"/>
                  <a:pt x="120" y="138"/>
                </a:cubicBezTo>
                <a:cubicBezTo>
                  <a:pt x="13" y="164"/>
                  <a:pt x="13" y="164"/>
                  <a:pt x="13" y="164"/>
                </a:cubicBezTo>
                <a:cubicBezTo>
                  <a:pt x="12" y="164"/>
                  <a:pt x="11" y="164"/>
                  <a:pt x="10" y="164"/>
                </a:cubicBezTo>
                <a:cubicBezTo>
                  <a:pt x="4" y="164"/>
                  <a:pt x="0" y="160"/>
                  <a:pt x="0" y="156"/>
                </a:cubicBezTo>
                <a:lnTo>
                  <a:pt x="0" y="0"/>
                </a:lnTo>
                <a:close/>
              </a:path>
            </a:pathLst>
          </a:custGeom>
          <a:solidFill>
            <a:srgbClr val="E6E7E8"/>
          </a:solidFill>
          <a:ln>
            <a:noFill/>
          </a:ln>
        </p:spPr>
        <p:txBody>
          <a:bodyPr vert="horz" wrap="none" lIns="0" tIns="0" rIns="0" bIns="36000" numCol="1" anchor="ctr" anchorCtr="1" compatLnSpc="1">
            <a:prstTxWarp prst="textNoShape">
              <a:avLst/>
            </a:prstTxWarp>
          </a:bodyPr>
          <a:lstStyle/>
          <a:p>
            <a:pPr marL="0" marR="0" indent="0" algn="ctr" defTabSz="872722" rtl="0" eaLnBrk="1" fontAlgn="auto" latinLnBrk="0" hangingPunct="1">
              <a:lnSpc>
                <a:spcPct val="100000"/>
              </a:lnSpc>
              <a:spcBef>
                <a:spcPts val="0"/>
              </a:spcBef>
              <a:spcAft>
                <a:spcPts val="0"/>
              </a:spcAft>
              <a:buClrTx/>
              <a:buSzTx/>
              <a:buFontTx/>
              <a:buNone/>
              <a:tabLst/>
              <a:defRPr/>
            </a:pPr>
            <a:fld id="{12E06541-304F-41DA-A076-D86DB9E81A9C}" type="slidenum">
              <a:rPr lang="en-GB" sz="1200" smtClean="0">
                <a:solidFill>
                  <a:schemeClr val="tx1"/>
                </a:solidFill>
              </a:rPr>
              <a:pPr marL="0" marR="0" indent="0" algn="ctr" defTabSz="872722" rtl="0" eaLnBrk="1" fontAlgn="auto" latinLnBrk="0" hangingPunct="1">
                <a:lnSpc>
                  <a:spcPct val="100000"/>
                </a:lnSpc>
                <a:spcBef>
                  <a:spcPts val="0"/>
                </a:spcBef>
                <a:spcAft>
                  <a:spcPts val="0"/>
                </a:spcAft>
                <a:buClrTx/>
                <a:buSzTx/>
                <a:buFontTx/>
                <a:buNone/>
                <a:tabLst/>
                <a:defRPr/>
              </a:pPr>
              <a:t>‹#›</a:t>
            </a:fld>
            <a:endParaRPr lang="en-GB" sz="1200" dirty="0">
              <a:solidFill>
                <a:schemeClr val="tx1"/>
              </a:solidFill>
            </a:endParaRPr>
          </a:p>
        </p:txBody>
      </p:sp>
      <p:pic>
        <p:nvPicPr>
          <p:cNvPr id="7" name="Picture 5">
            <a:extLst>
              <a:ext uri="{FF2B5EF4-FFF2-40B4-BE49-F238E27FC236}">
                <a16:creationId xmlns:a16="http://schemas.microsoft.com/office/drawing/2014/main" xmlns="" id="{96290264-F73B-406B-A755-2207167A32ED}"/>
              </a:ext>
            </a:extLst>
          </p:cNvPr>
          <p:cNvPicPr>
            <a:picLocks noChangeAspect="1" noChangeArrowheads="1"/>
          </p:cNvPicPr>
          <p:nvPr userDrawn="1">
            <p:custDataLst>
              <p:tags r:id="rId18"/>
            </p:custDataLst>
          </p:nvPr>
        </p:nvPicPr>
        <p:blipFill>
          <a:blip r:embed="rId19" cstate="print">
            <a:extLst>
              <a:ext uri="{28A0092B-C50C-407E-A947-70E740481C1C}">
                <a14:useLocalDpi xmlns:a14="http://schemas.microsoft.com/office/drawing/2010/main" val="0"/>
              </a:ext>
            </a:extLst>
          </a:blip>
          <a:srcRect/>
          <a:stretch>
            <a:fillRect/>
          </a:stretch>
        </p:blipFill>
        <p:spPr bwMode="ltGray">
          <a:xfrm>
            <a:off x="7960613" y="6354772"/>
            <a:ext cx="1116000" cy="152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723" r:id="rId1"/>
    <p:sldLayoutId id="2147483725" r:id="rId2"/>
    <p:sldLayoutId id="2147483727" r:id="rId3"/>
    <p:sldLayoutId id="2147483726" r:id="rId4"/>
    <p:sldLayoutId id="2147483718" r:id="rId5"/>
    <p:sldLayoutId id="2147483729" r:id="rId6"/>
    <p:sldLayoutId id="2147483730" r:id="rId7"/>
    <p:sldLayoutId id="2147483731" r:id="rId8"/>
    <p:sldLayoutId id="2147483711" r:id="rId9"/>
    <p:sldLayoutId id="2147483728" r:id="rId10"/>
    <p:sldLayoutId id="2147483703" r:id="rId11"/>
    <p:sldLayoutId id="2147483655" r:id="rId12"/>
    <p:sldLayoutId id="2147483700" r:id="rId13"/>
    <p:sldLayoutId id="2147483694" r:id="rId14"/>
    <p:sldLayoutId id="2147483695" r:id="rId15"/>
    <p:sldLayoutId id="2147483685" r:id="rId16"/>
  </p:sldLayoutIdLst>
  <p:hf sldNum="0" hdr="0" dt="0"/>
  <p:txStyles>
    <p:titleStyle>
      <a:lvl1pPr algn="l" defTabSz="872722" rtl="0" eaLnBrk="1" latinLnBrk="0" hangingPunct="1">
        <a:spcBef>
          <a:spcPct val="0"/>
        </a:spcBef>
        <a:buNone/>
        <a:defRPr sz="2600" b="1" kern="1200">
          <a:solidFill>
            <a:schemeClr val="accent3"/>
          </a:solidFill>
          <a:latin typeface="+mj-lt"/>
          <a:ea typeface="+mj-ea"/>
          <a:cs typeface="+mj-cs"/>
        </a:defRPr>
      </a:lvl1pPr>
    </p:titleStyle>
    <p:bodyStyle>
      <a:lvl1pPr marL="0" indent="0" algn="l" defTabSz="872722" rtl="0" eaLnBrk="1" latinLnBrk="0" hangingPunct="1">
        <a:spcBef>
          <a:spcPts val="0"/>
        </a:spcBef>
        <a:spcAft>
          <a:spcPts val="600"/>
        </a:spcAft>
        <a:buClr>
          <a:schemeClr val="tx1"/>
        </a:buClr>
        <a:buFont typeface="Arial" panose="020B0604020202020204" pitchFamily="34" charset="0"/>
        <a:buNone/>
        <a:defRPr sz="1800" b="1" kern="1200">
          <a:solidFill>
            <a:schemeClr val="tx1"/>
          </a:solidFill>
          <a:latin typeface="+mj-lt"/>
          <a:ea typeface="+mn-ea"/>
          <a:cs typeface="+mn-cs"/>
        </a:defRPr>
      </a:lvl1pPr>
      <a:lvl2pPr marL="0" indent="0" algn="l" defTabSz="872722" rtl="0" eaLnBrk="1" latinLnBrk="0" hangingPunct="1">
        <a:spcBef>
          <a:spcPts val="0"/>
        </a:spcBef>
        <a:spcAft>
          <a:spcPts val="600"/>
        </a:spcAft>
        <a:buClr>
          <a:schemeClr val="tx1"/>
        </a:buClr>
        <a:buFont typeface="Arial" panose="020B0604020202020204" pitchFamily="34" charset="0"/>
        <a:buNone/>
        <a:defRPr sz="1800" kern="1200">
          <a:solidFill>
            <a:schemeClr val="tx1"/>
          </a:solidFill>
          <a:latin typeface="+mn-lt"/>
          <a:ea typeface="+mn-ea"/>
          <a:cs typeface="+mn-cs"/>
        </a:defRPr>
      </a:lvl2pPr>
      <a:lvl3pPr marL="222250" indent="-222250" algn="l" defTabSz="872722" rtl="0" eaLnBrk="1" latinLnBrk="0" hangingPunct="1">
        <a:spcBef>
          <a:spcPts val="0"/>
        </a:spcBef>
        <a:spcAft>
          <a:spcPts val="600"/>
        </a:spcAft>
        <a:buClr>
          <a:schemeClr val="tx1"/>
        </a:buClr>
        <a:buFont typeface="Calibri" panose="020F0502020204030204" pitchFamily="34" charset="0"/>
        <a:buChar char="•"/>
        <a:defRPr sz="1800" kern="1200">
          <a:solidFill>
            <a:schemeClr val="tx1"/>
          </a:solidFill>
          <a:latin typeface="+mn-lt"/>
          <a:ea typeface="+mn-ea"/>
          <a:cs typeface="+mn-cs"/>
        </a:defRPr>
      </a:lvl3pPr>
      <a:lvl4pPr marL="457200" indent="-228600" algn="l" defTabSz="872722" rtl="0" eaLnBrk="1" latinLnBrk="0" hangingPunct="1">
        <a:spcBef>
          <a:spcPts val="0"/>
        </a:spcBef>
        <a:spcAft>
          <a:spcPts val="600"/>
        </a:spcAft>
        <a:buClr>
          <a:schemeClr val="tx1"/>
        </a:buClr>
        <a:buFont typeface="Calibri" panose="020F0502020204030204" pitchFamily="34" charset="0"/>
        <a:buChar char="•"/>
        <a:defRPr sz="1800" kern="1200">
          <a:solidFill>
            <a:schemeClr val="tx1"/>
          </a:solidFill>
          <a:latin typeface="+mn-lt"/>
          <a:ea typeface="+mn-ea"/>
          <a:cs typeface="+mn-cs"/>
        </a:defRPr>
      </a:lvl4pPr>
      <a:lvl5pPr marL="714375" indent="-234950" algn="l" defTabSz="872722" rtl="0" eaLnBrk="1" latinLnBrk="0" hangingPunct="1">
        <a:spcBef>
          <a:spcPts val="0"/>
        </a:spcBef>
        <a:spcAft>
          <a:spcPts val="600"/>
        </a:spcAft>
        <a:buClr>
          <a:schemeClr val="tx1"/>
        </a:buClr>
        <a:buFont typeface="Calibri" panose="020F0502020204030204" pitchFamily="34" charset="0"/>
        <a:buChar char="─"/>
        <a:defRPr sz="1800" kern="1200">
          <a:solidFill>
            <a:schemeClr val="tx1"/>
          </a:solidFill>
          <a:latin typeface="+mn-lt"/>
          <a:ea typeface="+mn-ea"/>
          <a:cs typeface="+mn-cs"/>
        </a:defRPr>
      </a:lvl5pPr>
      <a:lvl6pPr marL="936625" indent="-214313" algn="l" defTabSz="872722" rtl="0" eaLnBrk="1" latinLnBrk="0" hangingPunct="1">
        <a:spcBef>
          <a:spcPts val="0"/>
        </a:spcBef>
        <a:spcAft>
          <a:spcPts val="600"/>
        </a:spcAft>
        <a:buClr>
          <a:schemeClr val="tx2"/>
        </a:buClr>
        <a:buFont typeface="Calibri" panose="020F0502020204030204" pitchFamily="34" charset="0"/>
        <a:buChar char="−"/>
        <a:defRPr sz="1800" kern="1200">
          <a:solidFill>
            <a:schemeClr val="tx1"/>
          </a:solidFill>
          <a:latin typeface="+mn-lt"/>
          <a:ea typeface="+mn-ea"/>
          <a:cs typeface="+mn-cs"/>
        </a:defRPr>
      </a:lvl6pPr>
      <a:lvl7pPr marL="0" indent="0" algn="l" defTabSz="872722" rtl="0" eaLnBrk="1" latinLnBrk="0" hangingPunct="1">
        <a:spcBef>
          <a:spcPts val="0"/>
        </a:spcBef>
        <a:spcAft>
          <a:spcPts val="600"/>
        </a:spcAft>
        <a:buClr>
          <a:schemeClr val="tx1"/>
        </a:buClr>
        <a:buFontTx/>
        <a:buNone/>
        <a:defRPr sz="1800" kern="1200">
          <a:solidFill>
            <a:schemeClr val="tx1"/>
          </a:solidFill>
          <a:latin typeface="+mn-lt"/>
          <a:ea typeface="+mn-ea"/>
          <a:cs typeface="+mn-cs"/>
        </a:defRPr>
      </a:lvl7pPr>
      <a:lvl8pPr marL="209550" indent="-209550" algn="l" defTabSz="872722" rtl="0" eaLnBrk="1" latinLnBrk="0" hangingPunct="1">
        <a:spcBef>
          <a:spcPts val="0"/>
        </a:spcBef>
        <a:spcAft>
          <a:spcPts val="600"/>
        </a:spcAft>
        <a:buClr>
          <a:schemeClr val="tx1"/>
        </a:buClr>
        <a:buFont typeface="+mj-lt"/>
        <a:buAutoNum type="arabicPeriod"/>
        <a:defRPr sz="1800" kern="1200" baseline="0">
          <a:solidFill>
            <a:schemeClr val="tx1"/>
          </a:solidFill>
          <a:latin typeface="+mn-lt"/>
          <a:ea typeface="+mn-ea"/>
          <a:cs typeface="+mn-cs"/>
        </a:defRPr>
      </a:lvl8pPr>
      <a:lvl9pPr marL="473075" indent="-236538" algn="l" defTabSz="872722" rtl="0" eaLnBrk="1" latinLnBrk="0" hangingPunct="1">
        <a:spcBef>
          <a:spcPts val="0"/>
        </a:spcBef>
        <a:spcAft>
          <a:spcPts val="600"/>
        </a:spcAft>
        <a:buClr>
          <a:schemeClr val="tx1"/>
        </a:buClr>
        <a:buFont typeface="+mj-lt"/>
        <a:buAutoNum type="alphaLcPeriod"/>
        <a:defRPr sz="1800" kern="1200" baseline="0">
          <a:solidFill>
            <a:schemeClr val="tx1"/>
          </a:solidFill>
          <a:latin typeface="+mn-lt"/>
          <a:ea typeface="+mn-ea"/>
          <a:cs typeface="+mn-cs"/>
        </a:defRPr>
      </a:lvl9pPr>
    </p:bodyStyle>
    <p:otherStyle>
      <a:defPPr>
        <a:defRPr lang="en-US"/>
      </a:defPPr>
      <a:lvl1pPr marL="0" algn="l" defTabSz="872722" rtl="0" eaLnBrk="1" latinLnBrk="0" hangingPunct="1">
        <a:defRPr sz="1800" kern="1200">
          <a:solidFill>
            <a:schemeClr val="tx1"/>
          </a:solidFill>
          <a:latin typeface="+mn-lt"/>
          <a:ea typeface="+mn-ea"/>
          <a:cs typeface="+mn-cs"/>
        </a:defRPr>
      </a:lvl1pPr>
      <a:lvl2pPr marL="436361" algn="l" defTabSz="872722" rtl="0" eaLnBrk="1" latinLnBrk="0" hangingPunct="1">
        <a:defRPr sz="1800" kern="1200">
          <a:solidFill>
            <a:schemeClr val="tx1"/>
          </a:solidFill>
          <a:latin typeface="+mn-lt"/>
          <a:ea typeface="+mn-ea"/>
          <a:cs typeface="+mn-cs"/>
        </a:defRPr>
      </a:lvl2pPr>
      <a:lvl3pPr marL="872722" algn="l" defTabSz="872722" rtl="0" eaLnBrk="1" latinLnBrk="0" hangingPunct="1">
        <a:defRPr sz="1800" kern="1200">
          <a:solidFill>
            <a:schemeClr val="tx1"/>
          </a:solidFill>
          <a:latin typeface="+mn-lt"/>
          <a:ea typeface="+mn-ea"/>
          <a:cs typeface="+mn-cs"/>
        </a:defRPr>
      </a:lvl3pPr>
      <a:lvl4pPr marL="1309083" algn="l" defTabSz="872722" rtl="0" eaLnBrk="1" latinLnBrk="0" hangingPunct="1">
        <a:defRPr sz="1800" kern="1200">
          <a:solidFill>
            <a:schemeClr val="tx1"/>
          </a:solidFill>
          <a:latin typeface="+mn-lt"/>
          <a:ea typeface="+mn-ea"/>
          <a:cs typeface="+mn-cs"/>
        </a:defRPr>
      </a:lvl4pPr>
      <a:lvl5pPr marL="1745445" algn="l" defTabSz="872722" rtl="0" eaLnBrk="1" latinLnBrk="0" hangingPunct="1">
        <a:defRPr sz="1800" kern="1200">
          <a:solidFill>
            <a:schemeClr val="tx1"/>
          </a:solidFill>
          <a:latin typeface="+mn-lt"/>
          <a:ea typeface="+mn-ea"/>
          <a:cs typeface="+mn-cs"/>
        </a:defRPr>
      </a:lvl5pPr>
      <a:lvl6pPr marL="2181806" algn="l" defTabSz="872722" rtl="0" eaLnBrk="1" latinLnBrk="0" hangingPunct="1">
        <a:defRPr sz="1800" kern="1200">
          <a:solidFill>
            <a:schemeClr val="tx1"/>
          </a:solidFill>
          <a:latin typeface="+mn-lt"/>
          <a:ea typeface="+mn-ea"/>
          <a:cs typeface="+mn-cs"/>
        </a:defRPr>
      </a:lvl6pPr>
      <a:lvl7pPr marL="2618167" algn="l" defTabSz="872722" rtl="0" eaLnBrk="1" latinLnBrk="0" hangingPunct="1">
        <a:defRPr sz="1800" kern="1200">
          <a:solidFill>
            <a:schemeClr val="tx1"/>
          </a:solidFill>
          <a:latin typeface="+mn-lt"/>
          <a:ea typeface="+mn-ea"/>
          <a:cs typeface="+mn-cs"/>
        </a:defRPr>
      </a:lvl7pPr>
      <a:lvl8pPr marL="3054529" algn="l" defTabSz="872722" rtl="0" eaLnBrk="1" latinLnBrk="0" hangingPunct="1">
        <a:defRPr sz="1800" kern="1200">
          <a:solidFill>
            <a:schemeClr val="tx1"/>
          </a:solidFill>
          <a:latin typeface="+mn-lt"/>
          <a:ea typeface="+mn-ea"/>
          <a:cs typeface="+mn-cs"/>
        </a:defRPr>
      </a:lvl8pPr>
      <a:lvl9pPr marL="3490890" algn="l" defTabSz="87272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90" userDrawn="1">
          <p15:clr>
            <a:srgbClr val="F26B43"/>
          </p15:clr>
        </p15:guide>
        <p15:guide id="2" pos="535" userDrawn="1">
          <p15:clr>
            <a:srgbClr val="F26B43"/>
          </p15:clr>
        </p15:guide>
        <p15:guide id="4" pos="3219" userDrawn="1">
          <p15:clr>
            <a:srgbClr val="F26B43"/>
          </p15:clr>
        </p15:guide>
        <p15:guide id="5" pos="3021" userDrawn="1">
          <p15:clr>
            <a:srgbClr val="F26B43"/>
          </p15:clr>
        </p15:guide>
        <p15:guide id="12" pos="5705" userDrawn="1">
          <p15:clr>
            <a:srgbClr val="F26B43"/>
          </p15:clr>
        </p15:guide>
        <p15:guide id="14" orient="horz" pos="4020" userDrawn="1">
          <p15:clr>
            <a:srgbClr val="F26B43"/>
          </p15:clr>
        </p15:guide>
        <p15:guide id="15" orient="horz" pos="58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8026A4E-34CC-441A-A776-BEF42729FEFB}"/>
              </a:ext>
            </a:extLst>
          </p:cNvPr>
          <p:cNvSpPr>
            <a:spLocks noGrp="1"/>
          </p:cNvSpPr>
          <p:nvPr>
            <p:ph type="title"/>
          </p:nvPr>
        </p:nvSpPr>
        <p:spPr/>
        <p:txBody>
          <a:bodyPr/>
          <a:lstStyle/>
          <a:p>
            <a:r>
              <a:rPr lang="en-US" sz="3600" dirty="0" smtClean="0">
                <a:solidFill>
                  <a:schemeClr val="accent4">
                    <a:lumMod val="10000"/>
                  </a:schemeClr>
                </a:solidFill>
              </a:rPr>
              <a:t>Nature and software </a:t>
            </a:r>
            <a:endParaRPr lang="en-US" sz="3600" dirty="0">
              <a:solidFill>
                <a:schemeClr val="accent4">
                  <a:lumMod val="10000"/>
                </a:schemeClr>
              </a:solidFill>
            </a:endParaRPr>
          </a:p>
        </p:txBody>
      </p:sp>
      <p:sp>
        <p:nvSpPr>
          <p:cNvPr id="3" name="Text Placeholder 2">
            <a:extLst>
              <a:ext uri="{FF2B5EF4-FFF2-40B4-BE49-F238E27FC236}">
                <a16:creationId xmlns:a16="http://schemas.microsoft.com/office/drawing/2014/main" xmlns="" id="{B3C78973-FA60-47AF-AF8E-D2F68D778A63}"/>
              </a:ext>
            </a:extLst>
          </p:cNvPr>
          <p:cNvSpPr>
            <a:spLocks noGrp="1"/>
          </p:cNvSpPr>
          <p:nvPr>
            <p:ph type="body" sz="quarter" idx="12"/>
          </p:nvPr>
        </p:nvSpPr>
        <p:spPr>
          <a:xfrm>
            <a:off x="5122397" y="1774206"/>
            <a:ext cx="3934321" cy="1015663"/>
          </a:xfrm>
        </p:spPr>
        <p:txBody>
          <a:bodyPr/>
          <a:lstStyle/>
          <a:p>
            <a:r>
              <a:rPr lang="en-US" dirty="0" smtClean="0"/>
              <a:t>Leslie Sage</a:t>
            </a:r>
          </a:p>
          <a:p>
            <a:r>
              <a:rPr lang="en-US" dirty="0" smtClean="0"/>
              <a:t>Senior editor, physical sciences</a:t>
            </a:r>
            <a:endParaRPr lang="en-US" dirty="0"/>
          </a:p>
          <a:p>
            <a:pPr lvl="1"/>
            <a:r>
              <a:rPr lang="en-US" dirty="0" smtClean="0"/>
              <a:t>01.11.2018</a:t>
            </a:r>
            <a:endParaRPr lang="en-US" dirty="0"/>
          </a:p>
        </p:txBody>
      </p:sp>
      <p:sp>
        <p:nvSpPr>
          <p:cNvPr id="4" name="Text Placeholder 3">
            <a:extLst>
              <a:ext uri="{FF2B5EF4-FFF2-40B4-BE49-F238E27FC236}">
                <a16:creationId xmlns:a16="http://schemas.microsoft.com/office/drawing/2014/main" xmlns="" id="{C5397508-8D3E-4D81-AD6B-606E0C421C6F}"/>
              </a:ext>
            </a:extLst>
          </p:cNvPr>
          <p:cNvSpPr>
            <a:spLocks noGrp="1"/>
          </p:cNvSpPr>
          <p:nvPr>
            <p:ph type="body" sz="quarter" idx="13"/>
          </p:nvPr>
        </p:nvSpPr>
        <p:spPr/>
        <p:txBody>
          <a:bodyPr/>
          <a:lstStyle/>
          <a:p>
            <a:r>
              <a:rPr lang="en-US"/>
              <a:t>Antarctica meltdown could double sea level rise</a:t>
            </a:r>
          </a:p>
          <a:p>
            <a:endParaRPr lang="en-US" dirty="0"/>
          </a:p>
        </p:txBody>
      </p:sp>
      <p:sp>
        <p:nvSpPr>
          <p:cNvPr id="6" name="Rectangle 5">
            <a:extLst>
              <a:ext uri="{FF2B5EF4-FFF2-40B4-BE49-F238E27FC236}">
                <a16:creationId xmlns:a16="http://schemas.microsoft.com/office/drawing/2014/main" xmlns="" id="{842BC9C0-45A5-43F1-A632-419CF22EA79E}"/>
              </a:ext>
            </a:extLst>
          </p:cNvPr>
          <p:cNvSpPr/>
          <p:nvPr/>
        </p:nvSpPr>
        <p:spPr bwMode="auto">
          <a:xfrm>
            <a:off x="10137576" y="-31173"/>
            <a:ext cx="2359223" cy="309089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t>Cover image</a:t>
            </a:r>
          </a:p>
          <a:p>
            <a:pPr algn="l"/>
            <a:r>
              <a:rPr lang="en-US" sz="1100" b="0" dirty="0"/>
              <a:t>Please select the cover image you require from the following selection:</a:t>
            </a:r>
          </a:p>
          <a:p>
            <a:pPr marL="177800" indent="-177800" algn="l">
              <a:buFont typeface="Arial" panose="020B0604020202020204" pitchFamily="34" charset="0"/>
              <a:buChar char="•"/>
            </a:pPr>
            <a:r>
              <a:rPr lang="en-US" sz="1100" b="0" dirty="0"/>
              <a:t>2 x Discovery stories </a:t>
            </a:r>
          </a:p>
          <a:p>
            <a:pPr marL="177800" indent="-177800" algn="l">
              <a:buFont typeface="Arial" panose="020B0604020202020204" pitchFamily="34" charset="0"/>
              <a:buChar char="•"/>
            </a:pPr>
            <a:r>
              <a:rPr lang="en-US" sz="1100" dirty="0"/>
              <a:t>2 x Transformer images </a:t>
            </a:r>
          </a:p>
          <a:p>
            <a:pPr marL="177800" indent="-177800" algn="l">
              <a:buFont typeface="Arial" panose="020B0604020202020204" pitchFamily="34" charset="0"/>
              <a:buChar char="•"/>
            </a:pPr>
            <a:endParaRPr lang="en-US" sz="1100" dirty="0"/>
          </a:p>
          <a:p>
            <a:pPr algn="l"/>
            <a:r>
              <a:rPr lang="en-US" sz="1100" b="0" dirty="0"/>
              <a:t>Once you have chosen the cover image move the associated Thank you page to the end of the presentation and delete all the other cover and thank you pages.</a:t>
            </a:r>
          </a:p>
          <a:p>
            <a:pPr algn="l"/>
            <a:endParaRPr lang="en-US" sz="1100" dirty="0"/>
          </a:p>
          <a:p>
            <a:pPr algn="l"/>
            <a:r>
              <a:rPr lang="en-US" sz="1100" b="1" dirty="0"/>
              <a:t>Printing</a:t>
            </a:r>
          </a:p>
          <a:p>
            <a:pPr algn="l"/>
            <a:r>
              <a:rPr lang="en-US" sz="1100" dirty="0"/>
              <a:t>When printing the deck you can reduce ink use by selecting:</a:t>
            </a:r>
          </a:p>
          <a:p>
            <a:pPr marL="171450" indent="-171450">
              <a:buFont typeface="Arial" panose="020B0604020202020204" pitchFamily="34" charset="0"/>
              <a:buChar char="•"/>
            </a:pPr>
            <a:r>
              <a:rPr lang="en-GB" sz="1100" dirty="0"/>
              <a:t>Ctrl p (print)</a:t>
            </a:r>
          </a:p>
          <a:p>
            <a:pPr marL="171450" indent="-171450">
              <a:buFont typeface="Arial" panose="020B0604020202020204" pitchFamily="34" charset="0"/>
              <a:buChar char="•"/>
            </a:pPr>
            <a:r>
              <a:rPr lang="en-GB" sz="1100" dirty="0"/>
              <a:t>Change the option to greyscale</a:t>
            </a:r>
          </a:p>
          <a:p>
            <a:pPr algn="l"/>
            <a:endParaRPr lang="en-US" sz="1100" b="0" dirty="0">
              <a:solidFill>
                <a:schemeClr val="accent6"/>
              </a:solidFill>
            </a:endParaRPr>
          </a:p>
        </p:txBody>
      </p:sp>
    </p:spTree>
    <p:extLst>
      <p:ext uri="{BB962C8B-B14F-4D97-AF65-F5344CB8AC3E}">
        <p14:creationId xmlns:p14="http://schemas.microsoft.com/office/powerpoint/2010/main" val="32220876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825500" y="1436688"/>
            <a:ext cx="8239126" cy="4493538"/>
          </a:xfrm>
        </p:spPr>
        <p:txBody>
          <a:bodyPr/>
          <a:lstStyle/>
          <a:p>
            <a:pPr lvl="2"/>
            <a:r>
              <a:rPr lang="de-DE" dirty="0" err="1" smtClean="0"/>
              <a:t>Any</a:t>
            </a:r>
            <a:r>
              <a:rPr lang="de-DE" dirty="0" smtClean="0"/>
              <a:t> </a:t>
            </a:r>
            <a:r>
              <a:rPr lang="de-DE" dirty="0" err="1" smtClean="0"/>
              <a:t>paper</a:t>
            </a:r>
            <a:r>
              <a:rPr lang="de-DE" dirty="0" smtClean="0"/>
              <a:t> </a:t>
            </a:r>
            <a:r>
              <a:rPr lang="de-DE" dirty="0" err="1" smtClean="0"/>
              <a:t>whose</a:t>
            </a:r>
            <a:r>
              <a:rPr lang="de-DE" dirty="0" smtClean="0"/>
              <a:t> </a:t>
            </a:r>
            <a:r>
              <a:rPr lang="de-DE" dirty="0" err="1" smtClean="0"/>
              <a:t>central</a:t>
            </a:r>
            <a:r>
              <a:rPr lang="de-DE" dirty="0" smtClean="0"/>
              <a:t> </a:t>
            </a:r>
            <a:r>
              <a:rPr lang="de-DE" dirty="0" err="1" smtClean="0"/>
              <a:t>conclusions</a:t>
            </a:r>
            <a:r>
              <a:rPr lang="de-DE" dirty="0" smtClean="0"/>
              <a:t> </a:t>
            </a:r>
            <a:r>
              <a:rPr lang="de-DE" dirty="0" err="1" smtClean="0"/>
              <a:t>are</a:t>
            </a:r>
            <a:r>
              <a:rPr lang="de-DE" dirty="0" smtClean="0"/>
              <a:t> </a:t>
            </a:r>
            <a:r>
              <a:rPr lang="de-DE" dirty="0" err="1" smtClean="0"/>
              <a:t>based</a:t>
            </a:r>
            <a:r>
              <a:rPr lang="de-DE" dirty="0" smtClean="0"/>
              <a:t> upon </a:t>
            </a:r>
            <a:r>
              <a:rPr lang="de-DE" dirty="0" err="1" smtClean="0"/>
              <a:t>proprietary</a:t>
            </a:r>
            <a:r>
              <a:rPr lang="de-DE" dirty="0" smtClean="0"/>
              <a:t> </a:t>
            </a:r>
            <a:r>
              <a:rPr lang="de-DE" dirty="0" err="1" smtClean="0"/>
              <a:t>code</a:t>
            </a:r>
            <a:r>
              <a:rPr lang="de-DE" dirty="0" smtClean="0"/>
              <a:t> must </a:t>
            </a:r>
            <a:r>
              <a:rPr lang="de-DE" dirty="0" err="1" smtClean="0"/>
              <a:t>have</a:t>
            </a:r>
            <a:r>
              <a:rPr lang="de-DE" dirty="0" smtClean="0"/>
              <a:t> a ‘</a:t>
            </a:r>
            <a:r>
              <a:rPr lang="de-DE" dirty="0" err="1" smtClean="0"/>
              <a:t>code</a:t>
            </a:r>
            <a:r>
              <a:rPr lang="de-DE" dirty="0" smtClean="0"/>
              <a:t> </a:t>
            </a:r>
            <a:r>
              <a:rPr lang="de-DE" dirty="0" err="1" smtClean="0"/>
              <a:t>availability</a:t>
            </a:r>
            <a:r>
              <a:rPr lang="de-DE" dirty="0" smtClean="0"/>
              <a:t> </a:t>
            </a:r>
            <a:r>
              <a:rPr lang="de-DE" dirty="0" err="1" smtClean="0"/>
              <a:t>statement</a:t>
            </a:r>
            <a:r>
              <a:rPr lang="de-DE" dirty="0" smtClean="0"/>
              <a:t>‘ </a:t>
            </a:r>
          </a:p>
          <a:p>
            <a:pPr lvl="2"/>
            <a:r>
              <a:rPr lang="en-GB" dirty="0" smtClean="0"/>
              <a:t>Authors </a:t>
            </a:r>
            <a:r>
              <a:rPr lang="en-GB" dirty="0"/>
              <a:t>can specify that "The code used to generate x is available at y", or say that "We have opted not to make the code available because </a:t>
            </a:r>
            <a:r>
              <a:rPr lang="en-GB" dirty="0" smtClean="0"/>
              <a:t>...".</a:t>
            </a:r>
            <a:r>
              <a:rPr lang="en-US" dirty="0"/>
              <a:t> </a:t>
            </a:r>
            <a:endParaRPr lang="en-US" dirty="0" smtClean="0"/>
          </a:p>
          <a:p>
            <a:pPr lvl="2"/>
            <a:r>
              <a:rPr lang="en-GB" dirty="0"/>
              <a:t>This does not apply to standard data reduction software</a:t>
            </a:r>
            <a:r>
              <a:rPr lang="en-US" dirty="0"/>
              <a:t> </a:t>
            </a:r>
            <a:endParaRPr lang="en-US" dirty="0" smtClean="0"/>
          </a:p>
          <a:p>
            <a:pPr lvl="2"/>
            <a:r>
              <a:rPr lang="en-US" dirty="0" smtClean="0"/>
              <a:t>Authors are encouraged to deposit code in an open source such as GitHub and index it in the Astrophysics Source Code Library (for astronomy-related software)</a:t>
            </a:r>
          </a:p>
          <a:p>
            <a:pPr lvl="2"/>
            <a:r>
              <a:rPr lang="de-DE" dirty="0" err="1" smtClean="0"/>
              <a:t>If</a:t>
            </a:r>
            <a:r>
              <a:rPr lang="de-DE" dirty="0" smtClean="0"/>
              <a:t> </a:t>
            </a:r>
            <a:r>
              <a:rPr lang="de-DE" dirty="0" err="1" smtClean="0"/>
              <a:t>the</a:t>
            </a:r>
            <a:r>
              <a:rPr lang="de-DE" dirty="0" smtClean="0"/>
              <a:t> </a:t>
            </a:r>
            <a:r>
              <a:rPr lang="de-DE" dirty="0" err="1" smtClean="0"/>
              <a:t>code</a:t>
            </a:r>
            <a:r>
              <a:rPr lang="de-DE" dirty="0" smtClean="0"/>
              <a:t> </a:t>
            </a:r>
            <a:r>
              <a:rPr lang="de-DE" dirty="0" err="1" smtClean="0"/>
              <a:t>is</a:t>
            </a:r>
            <a:r>
              <a:rPr lang="de-DE" dirty="0" smtClean="0"/>
              <a:t> </a:t>
            </a:r>
            <a:r>
              <a:rPr lang="de-DE" dirty="0" err="1" smtClean="0"/>
              <a:t>entirely</a:t>
            </a:r>
            <a:r>
              <a:rPr lang="de-DE" dirty="0" smtClean="0"/>
              <a:t> </a:t>
            </a:r>
            <a:r>
              <a:rPr lang="de-DE" dirty="0" err="1" smtClean="0"/>
              <a:t>new</a:t>
            </a:r>
            <a:r>
              <a:rPr lang="de-DE" dirty="0" smtClean="0"/>
              <a:t>, </a:t>
            </a:r>
            <a:r>
              <a:rPr lang="de-DE" dirty="0" err="1" smtClean="0"/>
              <a:t>then</a:t>
            </a:r>
            <a:r>
              <a:rPr lang="de-DE" dirty="0" smtClean="0"/>
              <a:t> </a:t>
            </a:r>
            <a:r>
              <a:rPr lang="de-DE" dirty="0" err="1" smtClean="0"/>
              <a:t>the</a:t>
            </a:r>
            <a:r>
              <a:rPr lang="de-DE" dirty="0" smtClean="0"/>
              <a:t> </a:t>
            </a:r>
            <a:r>
              <a:rPr lang="de-DE" dirty="0" err="1" smtClean="0"/>
              <a:t>source</a:t>
            </a:r>
            <a:r>
              <a:rPr lang="de-DE" dirty="0" smtClean="0"/>
              <a:t> </a:t>
            </a:r>
            <a:r>
              <a:rPr lang="de-DE" dirty="0" err="1" smtClean="0"/>
              <a:t>should</a:t>
            </a:r>
            <a:r>
              <a:rPr lang="de-DE" dirty="0" smtClean="0"/>
              <a:t> </a:t>
            </a:r>
            <a:r>
              <a:rPr lang="de-DE" dirty="0" err="1" smtClean="0"/>
              <a:t>be</a:t>
            </a:r>
            <a:r>
              <a:rPr lang="de-DE" dirty="0" smtClean="0"/>
              <a:t> </a:t>
            </a:r>
            <a:r>
              <a:rPr lang="de-DE" dirty="0" err="1" smtClean="0"/>
              <a:t>made</a:t>
            </a:r>
            <a:r>
              <a:rPr lang="de-DE" dirty="0" smtClean="0"/>
              <a:t> </a:t>
            </a:r>
            <a:r>
              <a:rPr lang="de-DE" dirty="0" err="1" smtClean="0"/>
              <a:t>available</a:t>
            </a:r>
            <a:r>
              <a:rPr lang="de-DE" dirty="0" smtClean="0"/>
              <a:t> </a:t>
            </a:r>
            <a:r>
              <a:rPr lang="de-DE" dirty="0" err="1" smtClean="0"/>
              <a:t>to</a:t>
            </a:r>
            <a:r>
              <a:rPr lang="de-DE" dirty="0" smtClean="0"/>
              <a:t> </a:t>
            </a:r>
            <a:r>
              <a:rPr lang="de-DE" dirty="0" err="1" smtClean="0"/>
              <a:t>referees</a:t>
            </a:r>
            <a:r>
              <a:rPr lang="de-DE" dirty="0" smtClean="0"/>
              <a:t> </a:t>
            </a:r>
            <a:r>
              <a:rPr lang="de-DE" dirty="0" err="1" smtClean="0"/>
              <a:t>for</a:t>
            </a:r>
            <a:r>
              <a:rPr lang="de-DE" dirty="0" smtClean="0"/>
              <a:t> </a:t>
            </a:r>
            <a:r>
              <a:rPr lang="de-DE" dirty="0" err="1" smtClean="0"/>
              <a:t>them</a:t>
            </a:r>
            <a:r>
              <a:rPr lang="de-DE" dirty="0" smtClean="0"/>
              <a:t> </a:t>
            </a:r>
            <a:r>
              <a:rPr lang="de-DE" dirty="0" err="1" smtClean="0"/>
              <a:t>to</a:t>
            </a:r>
            <a:r>
              <a:rPr lang="de-DE" dirty="0" smtClean="0"/>
              <a:t> </a:t>
            </a:r>
            <a:r>
              <a:rPr lang="de-DE" dirty="0" err="1" smtClean="0"/>
              <a:t>test</a:t>
            </a:r>
            <a:r>
              <a:rPr lang="de-DE" dirty="0" smtClean="0"/>
              <a:t> </a:t>
            </a:r>
            <a:r>
              <a:rPr lang="de-DE" dirty="0" err="1" smtClean="0"/>
              <a:t>it</a:t>
            </a:r>
            <a:r>
              <a:rPr lang="de-DE" dirty="0" smtClean="0"/>
              <a:t>, </a:t>
            </a:r>
            <a:r>
              <a:rPr lang="de-DE" dirty="0" err="1" smtClean="0"/>
              <a:t>if</a:t>
            </a:r>
            <a:r>
              <a:rPr lang="de-DE" dirty="0" smtClean="0"/>
              <a:t> </a:t>
            </a:r>
            <a:r>
              <a:rPr lang="de-DE" dirty="0" err="1" smtClean="0"/>
              <a:t>they</a:t>
            </a:r>
            <a:r>
              <a:rPr lang="de-DE" dirty="0" smtClean="0"/>
              <a:t> </a:t>
            </a:r>
            <a:r>
              <a:rPr lang="de-DE" dirty="0" err="1" smtClean="0"/>
              <a:t>want</a:t>
            </a:r>
            <a:r>
              <a:rPr lang="de-DE" dirty="0" smtClean="0"/>
              <a:t> </a:t>
            </a:r>
            <a:r>
              <a:rPr lang="de-DE" dirty="0" err="1" smtClean="0"/>
              <a:t>to</a:t>
            </a:r>
            <a:r>
              <a:rPr lang="de-DE" dirty="0" smtClean="0"/>
              <a:t> (</a:t>
            </a:r>
            <a:r>
              <a:rPr lang="de-DE" dirty="0" err="1" smtClean="0"/>
              <a:t>rather</a:t>
            </a:r>
            <a:r>
              <a:rPr lang="de-DE" dirty="0" smtClean="0"/>
              <a:t> rare in </a:t>
            </a:r>
            <a:r>
              <a:rPr lang="de-DE" dirty="0" err="1" smtClean="0"/>
              <a:t>astronomy</a:t>
            </a:r>
            <a:r>
              <a:rPr lang="de-DE" dirty="0" smtClean="0"/>
              <a:t>, but </a:t>
            </a:r>
            <a:r>
              <a:rPr lang="de-DE" dirty="0" err="1" smtClean="0"/>
              <a:t>mandated</a:t>
            </a:r>
            <a:r>
              <a:rPr lang="de-DE" dirty="0" smtClean="0"/>
              <a:t> at </a:t>
            </a:r>
            <a:r>
              <a:rPr lang="de-DE" dirty="0" err="1" smtClean="0"/>
              <a:t>some</a:t>
            </a:r>
            <a:r>
              <a:rPr lang="de-DE" dirty="0" smtClean="0"/>
              <a:t> </a:t>
            </a:r>
            <a:r>
              <a:rPr lang="de-DE" dirty="0" err="1" smtClean="0"/>
              <a:t>journals</a:t>
            </a:r>
            <a:r>
              <a:rPr lang="de-DE" dirty="0" smtClean="0"/>
              <a:t>)</a:t>
            </a:r>
          </a:p>
          <a:p>
            <a:pPr lvl="2"/>
            <a:r>
              <a:rPr lang="de-DE" dirty="0" err="1" smtClean="0"/>
              <a:t>Authors</a:t>
            </a:r>
            <a:r>
              <a:rPr lang="de-DE" dirty="0" smtClean="0"/>
              <a:t> </a:t>
            </a:r>
            <a:r>
              <a:rPr lang="de-DE" dirty="0" err="1" smtClean="0"/>
              <a:t>should</a:t>
            </a:r>
            <a:r>
              <a:rPr lang="de-DE" dirty="0" smtClean="0"/>
              <a:t> </a:t>
            </a:r>
            <a:r>
              <a:rPr lang="de-DE" dirty="0" err="1" smtClean="0"/>
              <a:t>demonstrate</a:t>
            </a:r>
            <a:r>
              <a:rPr lang="de-DE" dirty="0" smtClean="0"/>
              <a:t> </a:t>
            </a:r>
            <a:r>
              <a:rPr lang="de-DE" dirty="0" err="1" smtClean="0"/>
              <a:t>that</a:t>
            </a:r>
            <a:r>
              <a:rPr lang="de-DE" dirty="0" smtClean="0"/>
              <a:t> </a:t>
            </a:r>
            <a:r>
              <a:rPr lang="de-DE" dirty="0" err="1" smtClean="0"/>
              <a:t>the</a:t>
            </a:r>
            <a:r>
              <a:rPr lang="de-DE" dirty="0" smtClean="0"/>
              <a:t> </a:t>
            </a:r>
            <a:r>
              <a:rPr lang="de-DE" dirty="0" err="1" smtClean="0"/>
              <a:t>code</a:t>
            </a:r>
            <a:r>
              <a:rPr lang="de-DE" dirty="0" smtClean="0"/>
              <a:t> </a:t>
            </a:r>
            <a:r>
              <a:rPr lang="de-DE" dirty="0" err="1" smtClean="0"/>
              <a:t>is</a:t>
            </a:r>
            <a:r>
              <a:rPr lang="de-DE" dirty="0" smtClean="0"/>
              <a:t> </a:t>
            </a:r>
            <a:r>
              <a:rPr lang="de-DE" dirty="0" err="1" smtClean="0"/>
              <a:t>well</a:t>
            </a:r>
            <a:r>
              <a:rPr lang="de-DE" dirty="0" smtClean="0"/>
              <a:t> </a:t>
            </a:r>
            <a:r>
              <a:rPr lang="de-DE" dirty="0" err="1" smtClean="0"/>
              <a:t>behaved</a:t>
            </a:r>
            <a:r>
              <a:rPr lang="de-DE" dirty="0" smtClean="0"/>
              <a:t> at </a:t>
            </a:r>
            <a:r>
              <a:rPr lang="de-DE" dirty="0" err="1" smtClean="0"/>
              <a:t>the</a:t>
            </a:r>
            <a:r>
              <a:rPr lang="de-DE" dirty="0" smtClean="0"/>
              <a:t> </a:t>
            </a:r>
            <a:r>
              <a:rPr lang="de-DE" dirty="0" err="1" smtClean="0"/>
              <a:t>analytic</a:t>
            </a:r>
            <a:r>
              <a:rPr lang="de-DE" dirty="0" smtClean="0"/>
              <a:t> </a:t>
            </a:r>
            <a:r>
              <a:rPr lang="de-DE" dirty="0" err="1" smtClean="0"/>
              <a:t>limits</a:t>
            </a:r>
            <a:endParaRPr lang="de-DE" dirty="0" smtClean="0"/>
          </a:p>
          <a:p>
            <a:pPr lvl="2"/>
            <a:r>
              <a:rPr lang="de-DE" dirty="0" err="1" smtClean="0"/>
              <a:t>Why</a:t>
            </a:r>
            <a:r>
              <a:rPr lang="de-DE" dirty="0" smtClean="0"/>
              <a:t> </a:t>
            </a:r>
            <a:r>
              <a:rPr lang="de-DE" dirty="0" err="1" smtClean="0"/>
              <a:t>are</a:t>
            </a:r>
            <a:r>
              <a:rPr lang="de-DE" dirty="0" smtClean="0"/>
              <a:t> </a:t>
            </a:r>
            <a:r>
              <a:rPr lang="de-DE" dirty="0" err="1" smtClean="0"/>
              <a:t>we</a:t>
            </a:r>
            <a:r>
              <a:rPr lang="de-DE" dirty="0" smtClean="0"/>
              <a:t> </a:t>
            </a:r>
            <a:r>
              <a:rPr lang="de-DE" dirty="0" err="1" smtClean="0"/>
              <a:t>doing</a:t>
            </a:r>
            <a:r>
              <a:rPr lang="de-DE" dirty="0" smtClean="0"/>
              <a:t> </a:t>
            </a:r>
            <a:r>
              <a:rPr lang="de-DE" dirty="0" err="1" smtClean="0"/>
              <a:t>this</a:t>
            </a:r>
            <a:r>
              <a:rPr lang="de-DE" dirty="0" smtClean="0"/>
              <a:t>? </a:t>
            </a:r>
            <a:endParaRPr lang="de-DE" dirty="0"/>
          </a:p>
          <a:p>
            <a:pPr lvl="3"/>
            <a:r>
              <a:rPr lang="de-DE" dirty="0" err="1" smtClean="0"/>
              <a:t>Driven</a:t>
            </a:r>
            <a:r>
              <a:rPr lang="de-DE" dirty="0" smtClean="0"/>
              <a:t> </a:t>
            </a:r>
            <a:r>
              <a:rPr lang="de-DE" dirty="0" err="1" smtClean="0"/>
              <a:t>by</a:t>
            </a:r>
            <a:r>
              <a:rPr lang="de-DE" dirty="0" smtClean="0"/>
              <a:t> </a:t>
            </a:r>
            <a:r>
              <a:rPr lang="de-DE" dirty="0" err="1" smtClean="0"/>
              <a:t>reproducibility</a:t>
            </a:r>
            <a:r>
              <a:rPr lang="de-DE" dirty="0" smtClean="0"/>
              <a:t> </a:t>
            </a:r>
            <a:r>
              <a:rPr lang="de-DE" dirty="0" err="1" smtClean="0"/>
              <a:t>crisis</a:t>
            </a:r>
            <a:r>
              <a:rPr lang="de-DE" dirty="0" smtClean="0"/>
              <a:t> in </a:t>
            </a:r>
            <a:r>
              <a:rPr lang="de-DE" dirty="0" err="1" smtClean="0"/>
              <a:t>biology</a:t>
            </a:r>
            <a:endParaRPr lang="de-DE" dirty="0" smtClean="0"/>
          </a:p>
          <a:p>
            <a:pPr lvl="3"/>
            <a:r>
              <a:rPr lang="de-DE" dirty="0" err="1" smtClean="0"/>
              <a:t>Some</a:t>
            </a:r>
            <a:r>
              <a:rPr lang="de-DE" dirty="0" smtClean="0"/>
              <a:t> </a:t>
            </a:r>
            <a:r>
              <a:rPr lang="de-DE" dirty="0" err="1" smtClean="0"/>
              <a:t>papers</a:t>
            </a:r>
            <a:r>
              <a:rPr lang="de-DE" dirty="0" smtClean="0"/>
              <a:t> </a:t>
            </a:r>
            <a:r>
              <a:rPr lang="de-DE" dirty="0" err="1" smtClean="0"/>
              <a:t>written</a:t>
            </a:r>
            <a:r>
              <a:rPr lang="de-DE" dirty="0" smtClean="0"/>
              <a:t> </a:t>
            </a:r>
            <a:r>
              <a:rPr lang="de-DE" dirty="0" err="1" smtClean="0"/>
              <a:t>about</a:t>
            </a:r>
            <a:r>
              <a:rPr lang="de-DE" dirty="0" smtClean="0"/>
              <a:t> </a:t>
            </a:r>
            <a:r>
              <a:rPr lang="de-DE" dirty="0" err="1" smtClean="0"/>
              <a:t>bugs</a:t>
            </a:r>
            <a:r>
              <a:rPr lang="de-DE" dirty="0" smtClean="0"/>
              <a:t>, </a:t>
            </a:r>
            <a:r>
              <a:rPr lang="de-DE" dirty="0" err="1" smtClean="0"/>
              <a:t>rather</a:t>
            </a:r>
            <a:r>
              <a:rPr lang="de-DE" dirty="0" smtClean="0"/>
              <a:t> </a:t>
            </a:r>
            <a:r>
              <a:rPr lang="de-DE" dirty="0" err="1" smtClean="0"/>
              <a:t>than</a:t>
            </a:r>
            <a:r>
              <a:rPr lang="de-DE" dirty="0" smtClean="0"/>
              <a:t> real </a:t>
            </a:r>
            <a:r>
              <a:rPr lang="de-DE" dirty="0" err="1" smtClean="0"/>
              <a:t>results</a:t>
            </a:r>
            <a:endParaRPr lang="de-DE" dirty="0"/>
          </a:p>
        </p:txBody>
      </p:sp>
      <p:sp>
        <p:nvSpPr>
          <p:cNvPr id="5" name="Title 4"/>
          <p:cNvSpPr>
            <a:spLocks noGrp="1"/>
          </p:cNvSpPr>
          <p:nvPr>
            <p:ph type="title"/>
          </p:nvPr>
        </p:nvSpPr>
        <p:spPr/>
        <p:txBody>
          <a:bodyPr/>
          <a:lstStyle/>
          <a:p>
            <a:r>
              <a:rPr lang="en-US" dirty="0" smtClean="0"/>
              <a:t>Policy summary</a:t>
            </a:r>
            <a:endParaRPr lang="en-GB" dirty="0"/>
          </a:p>
        </p:txBody>
      </p:sp>
    </p:spTree>
    <p:extLst>
      <p:ext uri="{BB962C8B-B14F-4D97-AF65-F5344CB8AC3E}">
        <p14:creationId xmlns:p14="http://schemas.microsoft.com/office/powerpoint/2010/main" val="11414292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825500" y="1436688"/>
            <a:ext cx="8239126" cy="1338828"/>
          </a:xfrm>
        </p:spPr>
        <p:txBody>
          <a:bodyPr/>
          <a:lstStyle/>
          <a:p>
            <a:pPr lvl="2"/>
            <a:r>
              <a:rPr lang="en-US" dirty="0" smtClean="0"/>
              <a:t>Complex data reduction scripts (i.e. for ALMA  and exoplanet transit data)?</a:t>
            </a:r>
          </a:p>
          <a:p>
            <a:pPr lvl="2"/>
            <a:r>
              <a:rPr lang="de-DE" dirty="0" err="1" smtClean="0"/>
              <a:t>Would</a:t>
            </a:r>
            <a:r>
              <a:rPr lang="de-DE" dirty="0" smtClean="0"/>
              <a:t> </a:t>
            </a:r>
            <a:r>
              <a:rPr lang="de-DE" dirty="0" err="1" smtClean="0"/>
              <a:t>complete</a:t>
            </a:r>
            <a:r>
              <a:rPr lang="de-DE" dirty="0" smtClean="0"/>
              <a:t> </a:t>
            </a:r>
            <a:r>
              <a:rPr lang="de-DE" dirty="0" err="1" smtClean="0"/>
              <a:t>description</a:t>
            </a:r>
            <a:r>
              <a:rPr lang="de-DE" dirty="0" smtClean="0"/>
              <a:t> </a:t>
            </a:r>
            <a:r>
              <a:rPr lang="de-DE" dirty="0" err="1" smtClean="0"/>
              <a:t>of</a:t>
            </a:r>
            <a:r>
              <a:rPr lang="de-DE" dirty="0" smtClean="0"/>
              <a:t> </a:t>
            </a:r>
            <a:r>
              <a:rPr lang="de-DE" dirty="0" err="1" smtClean="0"/>
              <a:t>algorithm</a:t>
            </a:r>
            <a:r>
              <a:rPr lang="de-DE" dirty="0" smtClean="0"/>
              <a:t> </a:t>
            </a:r>
            <a:r>
              <a:rPr lang="de-DE" dirty="0" err="1" smtClean="0"/>
              <a:t>be</a:t>
            </a:r>
            <a:r>
              <a:rPr lang="de-DE" dirty="0" smtClean="0"/>
              <a:t> </a:t>
            </a:r>
            <a:r>
              <a:rPr lang="de-DE" dirty="0" err="1" smtClean="0"/>
              <a:t>better</a:t>
            </a:r>
            <a:r>
              <a:rPr lang="de-DE" dirty="0" smtClean="0"/>
              <a:t> </a:t>
            </a:r>
            <a:r>
              <a:rPr lang="de-DE" dirty="0" err="1" smtClean="0"/>
              <a:t>than</a:t>
            </a:r>
            <a:r>
              <a:rPr lang="de-DE" dirty="0" smtClean="0"/>
              <a:t> </a:t>
            </a:r>
            <a:r>
              <a:rPr lang="de-DE" dirty="0" err="1" smtClean="0"/>
              <a:t>scripts</a:t>
            </a:r>
            <a:r>
              <a:rPr lang="de-DE" dirty="0" smtClean="0"/>
              <a:t>?</a:t>
            </a:r>
          </a:p>
          <a:p>
            <a:pPr lvl="2"/>
            <a:r>
              <a:rPr lang="de-DE" dirty="0" err="1" smtClean="0"/>
              <a:t>Any</a:t>
            </a:r>
            <a:r>
              <a:rPr lang="de-DE" dirty="0" smtClean="0"/>
              <a:t> </a:t>
            </a:r>
            <a:r>
              <a:rPr lang="de-DE" dirty="0" err="1" smtClean="0"/>
              <a:t>other</a:t>
            </a:r>
            <a:r>
              <a:rPr lang="de-DE" dirty="0" smtClean="0"/>
              <a:t> </a:t>
            </a:r>
            <a:r>
              <a:rPr lang="de-DE" dirty="0" err="1" smtClean="0"/>
              <a:t>suggestions</a:t>
            </a:r>
            <a:r>
              <a:rPr lang="de-DE" dirty="0" smtClean="0"/>
              <a:t>? </a:t>
            </a:r>
            <a:endParaRPr lang="de-DE" dirty="0"/>
          </a:p>
          <a:p>
            <a:pPr lvl="3"/>
            <a:r>
              <a:rPr lang="de-DE" dirty="0" smtClean="0"/>
              <a:t>Problems </a:t>
            </a:r>
            <a:r>
              <a:rPr lang="de-DE" dirty="0" err="1" smtClean="0"/>
              <a:t>using</a:t>
            </a:r>
            <a:r>
              <a:rPr lang="de-DE" dirty="0" smtClean="0"/>
              <a:t> </a:t>
            </a:r>
            <a:r>
              <a:rPr lang="de-DE" dirty="0" err="1" smtClean="0"/>
              <a:t>publicly</a:t>
            </a:r>
            <a:r>
              <a:rPr lang="de-DE" dirty="0" smtClean="0"/>
              <a:t> </a:t>
            </a:r>
            <a:r>
              <a:rPr lang="de-DE" dirty="0" err="1" smtClean="0"/>
              <a:t>available</a:t>
            </a:r>
            <a:r>
              <a:rPr lang="de-DE" dirty="0" smtClean="0"/>
              <a:t> </a:t>
            </a:r>
            <a:r>
              <a:rPr lang="de-DE" dirty="0" err="1" smtClean="0"/>
              <a:t>software</a:t>
            </a:r>
            <a:r>
              <a:rPr lang="de-DE" dirty="0" smtClean="0"/>
              <a:t>, but </a:t>
            </a:r>
            <a:r>
              <a:rPr lang="de-DE" dirty="0" err="1" smtClean="0"/>
              <a:t>driving</a:t>
            </a:r>
            <a:r>
              <a:rPr lang="de-DE" dirty="0" smtClean="0"/>
              <a:t> </a:t>
            </a:r>
            <a:r>
              <a:rPr lang="de-DE" dirty="0" err="1" smtClean="0"/>
              <a:t>beyond</a:t>
            </a:r>
            <a:r>
              <a:rPr lang="de-DE" dirty="0" smtClean="0"/>
              <a:t> </a:t>
            </a:r>
            <a:r>
              <a:rPr lang="de-DE" dirty="0" err="1" smtClean="0"/>
              <a:t>limits</a:t>
            </a:r>
            <a:r>
              <a:rPr lang="de-DE" dirty="0" smtClean="0"/>
              <a:t>? </a:t>
            </a:r>
          </a:p>
        </p:txBody>
      </p:sp>
      <p:sp>
        <p:nvSpPr>
          <p:cNvPr id="5" name="Title 4"/>
          <p:cNvSpPr>
            <a:spLocks noGrp="1"/>
          </p:cNvSpPr>
          <p:nvPr>
            <p:ph type="title"/>
          </p:nvPr>
        </p:nvSpPr>
        <p:spPr/>
        <p:txBody>
          <a:bodyPr/>
          <a:lstStyle/>
          <a:p>
            <a:r>
              <a:rPr lang="en-US" dirty="0" smtClean="0"/>
              <a:t>Possible extensions?  For discussion</a:t>
            </a:r>
            <a:endParaRPr lang="en-GB" dirty="0"/>
          </a:p>
        </p:txBody>
      </p:sp>
    </p:spTree>
    <p:extLst>
      <p:ext uri="{BB962C8B-B14F-4D97-AF65-F5344CB8AC3E}">
        <p14:creationId xmlns:p14="http://schemas.microsoft.com/office/powerpoint/2010/main" val="2085318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978283C7-0872-4006-9752-65D4DB879833}"/>
              </a:ext>
            </a:extLst>
          </p:cNvPr>
          <p:cNvSpPr>
            <a:spLocks noGrp="1"/>
          </p:cNvSpPr>
          <p:nvPr>
            <p:ph type="title"/>
          </p:nvPr>
        </p:nvSpPr>
        <p:spPr/>
        <p:txBody>
          <a:bodyPr/>
          <a:lstStyle/>
          <a:p>
            <a:r>
              <a:rPr lang="en-NZ"/>
              <a:t>Thank you</a:t>
            </a:r>
            <a:endParaRPr lang="en-US" dirty="0"/>
          </a:p>
        </p:txBody>
      </p:sp>
      <p:sp>
        <p:nvSpPr>
          <p:cNvPr id="7" name="Text Placeholder 6">
            <a:extLst>
              <a:ext uri="{FF2B5EF4-FFF2-40B4-BE49-F238E27FC236}">
                <a16:creationId xmlns:a16="http://schemas.microsoft.com/office/drawing/2014/main" xmlns="" id="{75254E3D-ABBD-4510-A8C5-4374623314E2}"/>
              </a:ext>
            </a:extLst>
          </p:cNvPr>
          <p:cNvSpPr>
            <a:spLocks noGrp="1"/>
          </p:cNvSpPr>
          <p:nvPr>
            <p:ph type="body" sz="quarter" idx="14"/>
          </p:nvPr>
        </p:nvSpPr>
        <p:spPr>
          <a:xfrm>
            <a:off x="825500" y="1412875"/>
            <a:ext cx="4508500" cy="1528111"/>
          </a:xfrm>
        </p:spPr>
        <p:txBody>
          <a:bodyPr/>
          <a:lstStyle/>
          <a:p>
            <a:r>
              <a:rPr lang="en-US" dirty="0" smtClean="0"/>
              <a:t>Leslie Sage</a:t>
            </a:r>
          </a:p>
          <a:p>
            <a:r>
              <a:rPr lang="en-US" dirty="0" smtClean="0"/>
              <a:t>+1 202 626 2511</a:t>
            </a:r>
          </a:p>
          <a:p>
            <a:r>
              <a:rPr lang="en-US" dirty="0" err="1" smtClean="0"/>
              <a:t>l.sage@us.nature.com</a:t>
            </a:r>
            <a:endParaRPr lang="en-US" dirty="0"/>
          </a:p>
        </p:txBody>
      </p:sp>
      <p:sp>
        <p:nvSpPr>
          <p:cNvPr id="5" name="Rectangle 4">
            <a:extLst>
              <a:ext uri="{FF2B5EF4-FFF2-40B4-BE49-F238E27FC236}">
                <a16:creationId xmlns:a16="http://schemas.microsoft.com/office/drawing/2014/main" xmlns="" id="{713BAA42-86E6-4724-A84D-BC844E559711}"/>
              </a:ext>
            </a:extLst>
          </p:cNvPr>
          <p:cNvSpPr/>
          <p:nvPr/>
        </p:nvSpPr>
        <p:spPr bwMode="auto">
          <a:xfrm>
            <a:off x="10137576" y="3"/>
            <a:ext cx="2359223" cy="215264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5672" tIns="85672" rIns="85672" bIns="85672" numCol="1" rtlCol="0" anchor="t" anchorCtr="0" compatLnSpc="1">
            <a:prstTxWarp prst="textNoShape">
              <a:avLst/>
            </a:prstTxWarp>
          </a:bodyPr>
          <a:lstStyle/>
          <a:p>
            <a:pPr algn="l"/>
            <a:r>
              <a:rPr lang="en-US" sz="1100" b="1" dirty="0"/>
              <a:t>Thank you page</a:t>
            </a:r>
          </a:p>
          <a:p>
            <a:pPr algn="l"/>
            <a:r>
              <a:rPr lang="en-US" sz="1100" dirty="0"/>
              <a:t>Make sure you have the thank you page associated with the cover image you have chosen and move this slide to the end of your presentation</a:t>
            </a:r>
          </a:p>
          <a:p>
            <a:pPr algn="l"/>
            <a:endParaRPr lang="en-US" sz="1100" b="1" dirty="0"/>
          </a:p>
          <a:p>
            <a:pPr algn="l"/>
            <a:r>
              <a:rPr lang="en-US" sz="1100" b="1" dirty="0"/>
              <a:t>Updating the footer</a:t>
            </a:r>
          </a:p>
          <a:p>
            <a:pPr algn="l"/>
            <a:r>
              <a:rPr lang="en-US" sz="1100" b="0" dirty="0"/>
              <a:t>To update the footer:</a:t>
            </a:r>
          </a:p>
          <a:p>
            <a:pPr marL="177800" indent="-177800" algn="l">
              <a:buFont typeface="Arial" panose="020B0604020202020204" pitchFamily="34" charset="0"/>
              <a:buChar char="•"/>
            </a:pPr>
            <a:r>
              <a:rPr lang="en-US" sz="1100" b="0" dirty="0"/>
              <a:t>Go the slide master via View</a:t>
            </a:r>
          </a:p>
          <a:p>
            <a:pPr marL="177800" indent="-177800" algn="l">
              <a:buFont typeface="Arial" panose="020B0604020202020204" pitchFamily="34" charset="0"/>
              <a:buChar char="•"/>
            </a:pPr>
            <a:r>
              <a:rPr lang="en-US" sz="1100" dirty="0"/>
              <a:t>Scroll to the first page</a:t>
            </a:r>
          </a:p>
          <a:p>
            <a:pPr marL="177800" indent="-177800" algn="l">
              <a:buFont typeface="Arial" panose="020B0604020202020204" pitchFamily="34" charset="0"/>
              <a:buChar char="•"/>
            </a:pPr>
            <a:r>
              <a:rPr lang="en-US" sz="1100" b="0" dirty="0"/>
              <a:t>Change text in the footer</a:t>
            </a:r>
          </a:p>
          <a:p>
            <a:pPr marL="177800" indent="-177800" algn="l">
              <a:buFont typeface="Arial" panose="020B0604020202020204" pitchFamily="34" charset="0"/>
              <a:buChar char="•"/>
            </a:pPr>
            <a:r>
              <a:rPr lang="en-US" sz="1100" dirty="0"/>
              <a:t>Close slide master</a:t>
            </a:r>
            <a:r>
              <a:rPr lang="en-US" sz="1100" b="0" dirty="0"/>
              <a:t> </a:t>
            </a:r>
          </a:p>
          <a:p>
            <a:pPr marL="177800" indent="-177800" algn="l">
              <a:buFont typeface="Arial" panose="020B0604020202020204" pitchFamily="34" charset="0"/>
              <a:buChar char="•"/>
            </a:pPr>
            <a:endParaRPr lang="en-US" sz="1100" kern="1200" dirty="0">
              <a:latin typeface="+mn-lt"/>
              <a:ea typeface="+mn-ea"/>
              <a:cs typeface="+mn-cs"/>
            </a:endParaRPr>
          </a:p>
          <a:p>
            <a:pPr marL="177800" indent="-177800" algn="l">
              <a:buFont typeface="Arial" panose="020B0604020202020204" pitchFamily="34" charset="0"/>
              <a:buChar char="•"/>
            </a:pPr>
            <a:endParaRPr lang="en-US" sz="1050" b="0" kern="1200" baseline="0" dirty="0">
              <a:solidFill>
                <a:schemeClr val="accent6"/>
              </a:solidFill>
              <a:latin typeface="+mn-lt"/>
              <a:ea typeface="+mn-ea"/>
              <a:cs typeface="+mn-cs"/>
            </a:endParaRPr>
          </a:p>
        </p:txBody>
      </p:sp>
    </p:spTree>
    <p:extLst>
      <p:ext uri="{BB962C8B-B14F-4D97-AF65-F5344CB8AC3E}">
        <p14:creationId xmlns:p14="http://schemas.microsoft.com/office/powerpoint/2010/main" val="2952015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MTFnt._rUqGTy_BIJz3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DM0Kq1270WvEWs9JTOn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q227FVqG0mURBSVjxmo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jRJtQ0ZfE2eBifc8GU7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DM0Kq1270WvEWs9JTOniw"/>
</p:tagLst>
</file>

<file path=ppt/theme/theme1.xml><?xml version="1.0" encoding="utf-8"?>
<a:theme xmlns:a="http://schemas.openxmlformats.org/drawingml/2006/main" name="Springer Nature">
  <a:themeElements>
    <a:clrScheme name="Springer Nature">
      <a:dk1>
        <a:srgbClr val="58595B"/>
      </a:dk1>
      <a:lt1>
        <a:srgbClr val="FFFFFF"/>
      </a:lt1>
      <a:dk2>
        <a:srgbClr val="B1B1B3"/>
      </a:dk2>
      <a:lt2>
        <a:srgbClr val="AAAAAA"/>
      </a:lt2>
      <a:accent1>
        <a:srgbClr val="58595B"/>
      </a:accent1>
      <a:accent2>
        <a:srgbClr val="3C9CD7"/>
      </a:accent2>
      <a:accent3>
        <a:srgbClr val="ED1C24"/>
      </a:accent3>
      <a:accent4>
        <a:srgbClr val="D1D3D4"/>
      </a:accent4>
      <a:accent5>
        <a:srgbClr val="937CB9"/>
      </a:accent5>
      <a:accent6>
        <a:srgbClr val="F58220"/>
      </a:accent6>
      <a:hlink>
        <a:srgbClr val="3C9CD7"/>
      </a:hlink>
      <a:folHlink>
        <a:srgbClr val="F5822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72000" tIns="72000" rIns="72000" bIns="72000" rtlCol="0" anchor="ctr" anchorCtr="1"/>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72000" rIns="72000" bIns="72000" rtlCol="0">
        <a:spAutoFit/>
      </a:bodyPr>
      <a:lstStyle>
        <a:defPPr>
          <a:defRPr sz="1000" dirty="0" smtClean="0"/>
        </a:defPPr>
      </a:lstStyle>
    </a:txDef>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esentation3" id="{0BD31386-E945-461E-8513-16A09F49BC23}" vid="{898B1D40-5C1C-4F5C-A23C-BAC86B68CB9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937CB9"/>
    </a:custClr>
    <a:custClr>
      <a:srgbClr val="00B8B0"/>
    </a:custClr>
    <a:custClr>
      <a:srgbClr val="F58220"/>
    </a:custClr>
    <a:custClr>
      <a:srgbClr val="C4D82E"/>
    </a:custClr>
    <a:custClr>
      <a:srgbClr val="FFFFFF"/>
    </a:custClr>
    <a:custClr>
      <a:srgbClr val="FFFFFF"/>
    </a:custClr>
    <a:custClr>
      <a:srgbClr val="FFFFFF"/>
    </a:custClr>
    <a:custClr>
      <a:srgbClr val="FFFFFF"/>
    </a:custClr>
    <a:custClr>
      <a:srgbClr val="FFFFFF"/>
    </a:custClr>
    <a:custClr>
      <a:srgbClr val="FFFFFF"/>
    </a:custClr>
    <a:custClr>
      <a:srgbClr val="AE9DCB"/>
    </a:custClr>
    <a:custClr>
      <a:srgbClr val="40CAC4"/>
    </a:custClr>
    <a:custClr>
      <a:srgbClr val="F8A158"/>
    </a:custClr>
    <a:custClr>
      <a:srgbClr val="D3E262"/>
    </a:custClr>
    <a:custClr>
      <a:srgbClr val="FFFFFF"/>
    </a:custClr>
    <a:custClr>
      <a:srgbClr val="FFFFFF"/>
    </a:custClr>
    <a:custClr>
      <a:srgbClr val="FFFFFF"/>
    </a:custClr>
    <a:custClr>
      <a:srgbClr val="FFFFFF"/>
    </a:custClr>
    <a:custClr>
      <a:srgbClr val="FFFFFF"/>
    </a:custClr>
    <a:custClr>
      <a:srgbClr val="FFFFFF"/>
    </a:custClr>
    <a:custClr>
      <a:srgbClr val="BEB0D5"/>
    </a:custClr>
    <a:custClr>
      <a:srgbClr val="66D4D0"/>
    </a:custClr>
    <a:custClr>
      <a:srgbClr val="F9B479"/>
    </a:custClr>
    <a:custClr>
      <a:srgbClr val="DCE882"/>
    </a:custClr>
    <a:custClr>
      <a:srgbClr val="FFFFFF"/>
    </a:custClr>
    <a:custClr>
      <a:srgbClr val="FFFFFF"/>
    </a:custClr>
    <a:custClr>
      <a:srgbClr val="FFFFFF"/>
    </a:custClr>
    <a:custClr>
      <a:srgbClr val="FFFFFF"/>
    </a:custClr>
    <a:custClr>
      <a:srgbClr val="FFFFFF"/>
    </a:custClr>
    <a:custClr>
      <a:srgbClr val="FFFFFF"/>
    </a:custClr>
    <a:custClr>
      <a:srgbClr val="DFD8EA"/>
    </a:custClr>
    <a:custClr>
      <a:srgbClr val="B3EAE7"/>
    </a:custClr>
    <a:custClr>
      <a:srgbClr val="FCDABC"/>
    </a:custClr>
    <a:custClr>
      <a:srgbClr val="EDF3C0"/>
    </a:custClr>
    <a:custClr>
      <a:srgbClr val="FFFFFF"/>
    </a:custClr>
    <a:custClr>
      <a:srgbClr val="FFFFFF"/>
    </a:custClr>
    <a:custClr>
      <a:srgbClr val="FFFFFF"/>
    </a:custClr>
    <a:custClr>
      <a:srgbClr val="FFFFFF"/>
    </a:custClr>
    <a:custClr>
      <a:srgbClr val="FFFFFF"/>
    </a:custClr>
    <a:custClr>
      <a:srgbClr val="FFFFFF"/>
    </a:custClr>
  </a:custClrLst>
</a:theme>
</file>

<file path=docProps/app.xml><?xml version="1.0" encoding="utf-8"?>
<Properties xmlns="http://schemas.openxmlformats.org/officeDocument/2006/extended-properties" xmlns:vt="http://schemas.openxmlformats.org/officeDocument/2006/docPropsVTypes">
  <Template/>
  <TotalTime>2172</TotalTime>
  <Words>363</Words>
  <Application>Microsoft Macintosh PowerPoint</Application>
  <PresentationFormat>A4 Paper (210x297 mm)</PresentationFormat>
  <Paragraphs>44</Paragraphs>
  <Slides>4</Slides>
  <Notes>0</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4</vt:i4>
      </vt:variant>
    </vt:vector>
  </HeadingPairs>
  <TitlesOfParts>
    <vt:vector size="7" baseType="lpstr">
      <vt:lpstr>Calibri</vt:lpstr>
      <vt:lpstr>Arial</vt:lpstr>
      <vt:lpstr>Springer Nature</vt:lpstr>
      <vt:lpstr>Nature and software </vt:lpstr>
      <vt:lpstr>Policy summary</vt:lpstr>
      <vt:lpstr>Possible extensions?  For discussion</vt:lpstr>
      <vt:lpstr>Thank you</vt:lpstr>
    </vt:vector>
  </TitlesOfParts>
  <Company>Microsoft</Company>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ringer Nature PowerPoint presentation title goes here</dc:title>
  <dc:creator>General Notes</dc:creator>
  <cp:lastModifiedBy>Microsoft Office User</cp:lastModifiedBy>
  <cp:revision>144</cp:revision>
  <cp:lastPrinted>2015-06-04T08:29:30Z</cp:lastPrinted>
  <dcterms:created xsi:type="dcterms:W3CDTF">2017-06-15T16:30:28Z</dcterms:created>
  <dcterms:modified xsi:type="dcterms:W3CDTF">2018-01-07T18:0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ServerID">
    <vt:lpwstr>0d673023-5242-4d13-a9d7-ca41728b752d</vt:lpwstr>
  </property>
  <property fmtid="{D5CDD505-2E9C-101B-9397-08002B2CF9AE}" pid="3" name="Offisync_ProviderInitializationData">
    <vt:lpwstr>https://hive.springernature.com</vt:lpwstr>
  </property>
  <property fmtid="{D5CDD505-2E9C-101B-9397-08002B2CF9AE}" pid="4" name="Offisync_UpdateToken">
    <vt:lpwstr>4</vt:lpwstr>
  </property>
  <property fmtid="{D5CDD505-2E9C-101B-9397-08002B2CF9AE}" pid="5" name="Jive_LatestUserAccountName">
    <vt:lpwstr>l.sage@us.nature.com</vt:lpwstr>
  </property>
  <property fmtid="{D5CDD505-2E9C-101B-9397-08002B2CF9AE}" pid="6" name="Offisync_UniqueId">
    <vt:lpwstr>60914</vt:lpwstr>
  </property>
  <property fmtid="{D5CDD505-2E9C-101B-9397-08002B2CF9AE}" pid="7" name="Jive_VersionGuid">
    <vt:lpwstr>fbf1fc2b-749e-49db-9364-1dd954fbc11d</vt:lpwstr>
  </property>
</Properties>
</file>